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324" r:id="rId5"/>
    <p:sldId id="337" r:id="rId6"/>
    <p:sldId id="341" r:id="rId7"/>
    <p:sldId id="334" r:id="rId8"/>
    <p:sldId id="335" r:id="rId9"/>
    <p:sldId id="339" r:id="rId10"/>
    <p:sldId id="340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AA7871F-EF79-E351-671A-7ED60DBF0856}" name="Peter, Tatjana" initials="PT" userId="S::peterta4@novartis.net::498cdb32-93ae-473f-a913-3db738834ba6" providerId="AD"/>
  <p188:author id="{B0127184-0F00-C23E-79F0-543ED6C869A7}" name="Tagari, Eleni" initials="ET" userId="S::TAGAREL1@novartis.net::698b4a75-4965-49df-b4c2-d2566eb8ce59" providerId="AD"/>
  <p188:author id="{9C49F5BF-6A0D-1646-E8E8-970C9387729C}" name="Barbara Knapp" initials="BK" userId="S::bknapp@kwmedipoint.de::4f0281da-259f-4bb5-b86a-8d73f35d4d6d" providerId="AD"/>
  <p188:author id="{710D53CA-70D4-3CE1-9158-E44BEF2D826C}" name="Peter, Tatjana" initials="" userId="S::PETERTA4@novartis.net::498cdb32-93ae-473f-a913-3db738834ba6" providerId="AD"/>
  <p188:author id="{1611A7F6-52DA-55C1-3072-E4B0572853E1}" name="Christian Adler" initials="CA" userId="S::cadler@kwmedipoint.de::cee0bd82-541c-49f9-a0c3-e539f9fd496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60A9"/>
    <a:srgbClr val="002068"/>
    <a:srgbClr val="FFC100"/>
    <a:srgbClr val="F2F2F2"/>
    <a:srgbClr val="D0D0D0"/>
    <a:srgbClr val="A7A8AA"/>
    <a:srgbClr val="50E2D0"/>
    <a:srgbClr val="8F2DDE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2333" autoAdjust="0"/>
  </p:normalViewPr>
  <p:slideViewPr>
    <p:cSldViewPr snapToGrid="0" showGuides="1">
      <p:cViewPr varScale="1">
        <p:scale>
          <a:sx n="62" d="100"/>
          <a:sy n="62" d="100"/>
        </p:scale>
        <p:origin x="1085" y="27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61" d="100"/>
          <a:sy n="61" d="100"/>
        </p:scale>
        <p:origin x="3182" y="3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849523077657408"/>
          <c:y val="4.3514284359834121E-2"/>
          <c:w val="0.80150476922342595"/>
          <c:h val="0.76718076048812489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5</c:f>
              <c:numCache>
                <c:formatCode>General</c:formatCode>
                <c:ptCount val="14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  <c:pt idx="10">
                  <c:v>60</c:v>
                </c:pt>
                <c:pt idx="11">
                  <c:v>66</c:v>
                </c:pt>
                <c:pt idx="12">
                  <c:v>72</c:v>
                </c:pt>
                <c:pt idx="13">
                  <c:v>78</c:v>
                </c:pt>
              </c:numCache>
            </c:numRef>
          </c:cat>
          <c:val>
            <c:numRef>
              <c:f>Tabelle1!$B$2:$B$15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263-4950-894A-453873ECBFB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5</c:f>
              <c:numCache>
                <c:formatCode>General</c:formatCode>
                <c:ptCount val="14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  <c:pt idx="10">
                  <c:v>60</c:v>
                </c:pt>
                <c:pt idx="11">
                  <c:v>66</c:v>
                </c:pt>
                <c:pt idx="12">
                  <c:v>72</c:v>
                </c:pt>
                <c:pt idx="13">
                  <c:v>78</c:v>
                </c:pt>
              </c:numCache>
            </c:numRef>
          </c:cat>
          <c:val>
            <c:numRef>
              <c:f>Tabelle1!$C$2:$C$15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63-4950-894A-453873ECBF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59162703"/>
        <c:axId val="859163183"/>
      </c:lineChart>
      <c:catAx>
        <c:axId val="85916270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000" b="1" dirty="0">
                    <a:solidFill>
                      <a:schemeClr val="tx1"/>
                    </a:solidFill>
                  </a:rPr>
                  <a:t>Zeit</a:t>
                </a:r>
                <a:r>
                  <a:rPr lang="de-DE" sz="1000" b="1" baseline="0" dirty="0">
                    <a:solidFill>
                      <a:schemeClr val="tx1"/>
                    </a:solidFill>
                  </a:rPr>
                  <a:t> </a:t>
                </a:r>
                <a:r>
                  <a:rPr lang="de-DE" sz="1000" b="1" dirty="0">
                    <a:solidFill>
                      <a:schemeClr val="tx1"/>
                    </a:solidFill>
                  </a:rPr>
                  <a:t>in Monaten</a:t>
                </a:r>
              </a:p>
            </c:rich>
          </c:tx>
          <c:layout>
            <c:manualLayout>
              <c:xMode val="edge"/>
              <c:yMode val="edge"/>
              <c:x val="0.47358732520626134"/>
              <c:y val="0.922335493009766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3183"/>
        <c:crosses val="autoZero"/>
        <c:auto val="1"/>
        <c:lblAlgn val="ctr"/>
        <c:lblOffset val="100"/>
        <c:noMultiLvlLbl val="0"/>
      </c:catAx>
      <c:valAx>
        <c:axId val="859163183"/>
        <c:scaling>
          <c:orientation val="minMax"/>
          <c:max val="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000" b="1" dirty="0">
                    <a:solidFill>
                      <a:schemeClr val="tx1"/>
                    </a:solidFill>
                  </a:rPr>
                  <a:t>RFS-</a:t>
                </a:r>
                <a:r>
                  <a:rPr lang="de-DE" sz="1000" b="1" dirty="0" err="1">
                    <a:solidFill>
                      <a:schemeClr val="tx1"/>
                    </a:solidFill>
                  </a:rPr>
                  <a:t>Warscheinlichkeit</a:t>
                </a:r>
                <a:r>
                  <a:rPr lang="de-DE" sz="1000" b="1" baseline="0" dirty="0">
                    <a:solidFill>
                      <a:schemeClr val="tx1"/>
                    </a:solidFill>
                  </a:rPr>
                  <a:t> </a:t>
                </a:r>
                <a:r>
                  <a:rPr lang="de-DE" sz="1000" b="1" dirty="0">
                    <a:solidFill>
                      <a:schemeClr val="tx1"/>
                    </a:solidFill>
                  </a:rPr>
                  <a:t>(%)</a:t>
                </a:r>
              </a:p>
            </c:rich>
          </c:tx>
          <c:layout>
            <c:manualLayout>
              <c:xMode val="edge"/>
              <c:yMode val="edge"/>
              <c:x val="7.1999664964728941E-2"/>
              <c:y val="3.3227633730953929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2703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849523077657408"/>
          <c:y val="4.3514284359834121E-2"/>
          <c:w val="0.80150476922342595"/>
          <c:h val="0.76718076048812489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5</c:f>
              <c:numCache>
                <c:formatCode>General</c:formatCode>
                <c:ptCount val="14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  <c:pt idx="10">
                  <c:v>60</c:v>
                </c:pt>
                <c:pt idx="11">
                  <c:v>66</c:v>
                </c:pt>
                <c:pt idx="12">
                  <c:v>72</c:v>
                </c:pt>
                <c:pt idx="13">
                  <c:v>78</c:v>
                </c:pt>
              </c:numCache>
            </c:numRef>
          </c:cat>
          <c:val>
            <c:numRef>
              <c:f>Tabelle1!$B$2:$B$15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F7A-44A8-859D-08EB0BD09FBC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5</c:f>
              <c:numCache>
                <c:formatCode>General</c:formatCode>
                <c:ptCount val="14"/>
                <c:pt idx="0">
                  <c:v>0</c:v>
                </c:pt>
                <c:pt idx="1">
                  <c:v>6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  <c:pt idx="5">
                  <c:v>30</c:v>
                </c:pt>
                <c:pt idx="6">
                  <c:v>36</c:v>
                </c:pt>
                <c:pt idx="7">
                  <c:v>42</c:v>
                </c:pt>
                <c:pt idx="8">
                  <c:v>48</c:v>
                </c:pt>
                <c:pt idx="9">
                  <c:v>54</c:v>
                </c:pt>
                <c:pt idx="10">
                  <c:v>60</c:v>
                </c:pt>
                <c:pt idx="11">
                  <c:v>66</c:v>
                </c:pt>
                <c:pt idx="12">
                  <c:v>72</c:v>
                </c:pt>
                <c:pt idx="13">
                  <c:v>78</c:v>
                </c:pt>
              </c:numCache>
            </c:numRef>
          </c:cat>
          <c:val>
            <c:numRef>
              <c:f>Tabelle1!$C$2:$C$15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F7A-44A8-859D-08EB0BD09F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59162703"/>
        <c:axId val="859163183"/>
      </c:lineChart>
      <c:catAx>
        <c:axId val="85916270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000" b="1" baseline="0" dirty="0">
                    <a:solidFill>
                      <a:schemeClr val="tx1"/>
                    </a:solidFill>
                  </a:rPr>
                  <a:t>Zeit seit Randomisierung (Monate)</a:t>
                </a:r>
                <a:endParaRPr lang="de-DE" sz="1000" b="1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39229740744513475"/>
              <c:y val="0.9184672642634690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3183"/>
        <c:crosses val="autoZero"/>
        <c:auto val="1"/>
        <c:lblAlgn val="ctr"/>
        <c:lblOffset val="100"/>
        <c:noMultiLvlLbl val="0"/>
      </c:catAx>
      <c:valAx>
        <c:axId val="859163183"/>
        <c:scaling>
          <c:orientation val="minMax"/>
          <c:max val="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000" b="1" dirty="0">
                    <a:solidFill>
                      <a:schemeClr val="tx1"/>
                    </a:solidFill>
                  </a:rPr>
                  <a:t>OS</a:t>
                </a:r>
                <a:r>
                  <a:rPr lang="de-DE" sz="1000" b="1" baseline="0" dirty="0">
                    <a:solidFill>
                      <a:schemeClr val="tx1"/>
                    </a:solidFill>
                  </a:rPr>
                  <a:t>-Wahrscheinlichkeit </a:t>
                </a:r>
                <a:r>
                  <a:rPr lang="de-DE" sz="1000" b="1" dirty="0">
                    <a:solidFill>
                      <a:schemeClr val="tx1"/>
                    </a:solidFill>
                  </a:rPr>
                  <a:t>(%)</a:t>
                </a:r>
              </a:p>
            </c:rich>
          </c:tx>
          <c:layout>
            <c:manualLayout>
              <c:xMode val="edge"/>
              <c:yMode val="edge"/>
              <c:x val="7.1999664964728941E-2"/>
              <c:y val="0.1400636322822701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9162703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905393C-279E-C9B0-6414-753F3C5AC3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E548BD-3BF5-C546-597C-CDDEBB506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5D6D29-B0AC-4F17-B48C-0DD4C2CD20D2}" type="datetimeFigureOut">
              <a:rPr lang="en-GB" smtClean="0"/>
              <a:t>23/06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99E39-A58A-EE61-F03E-E373F660B4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A5418-7089-7ED5-A1DA-A7670647F2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EE6E49-F2EA-4DFD-BA31-A3CAB8E0D7E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315016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3B3FB0-12FC-4420-880E-3E7AA3DB0BD4}" type="datetimeFigureOut">
              <a:rPr lang="en-GB" smtClean="0"/>
              <a:t>23/06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F80CA-0B62-4806-84EF-87D648B4ECD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53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lang="de-DE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61369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42509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None/>
              <a:tabLst>
                <a:tab pos="457200" algn="l"/>
              </a:tabLst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40995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80236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85373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44106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None/>
              <a:tabLst>
                <a:tab pos="457200" algn="l"/>
              </a:tabLst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7978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07C4262D-922A-2725-8808-A732A2277E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2613" y="-1"/>
            <a:ext cx="5829388" cy="4260915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CF3EA86-16EB-319B-4E59-5E2806AF7B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96052" y="1140643"/>
            <a:ext cx="4795948" cy="5712595"/>
          </a:xfrm>
          <a:custGeom>
            <a:avLst/>
            <a:gdLst>
              <a:gd name="connsiteX0" fmla="*/ 1269090 w 3292262"/>
              <a:gd name="connsiteY0" fmla="*/ 142 h 3921510"/>
              <a:gd name="connsiteX1" fmla="*/ 1586011 w 3292262"/>
              <a:gd name="connsiteY1" fmla="*/ 45942 h 3921510"/>
              <a:gd name="connsiteX2" fmla="*/ 1602376 w 3292262"/>
              <a:gd name="connsiteY2" fmla="*/ 51394 h 3921510"/>
              <a:gd name="connsiteX3" fmla="*/ 1612194 w 3292262"/>
              <a:gd name="connsiteY3" fmla="*/ 53575 h 3921510"/>
              <a:gd name="connsiteX4" fmla="*/ 1968936 w 3292262"/>
              <a:gd name="connsiteY4" fmla="*/ 153900 h 3921510"/>
              <a:gd name="connsiteX5" fmla="*/ 3292262 w 3292262"/>
              <a:gd name="connsiteY5" fmla="*/ 523573 h 3921510"/>
              <a:gd name="connsiteX6" fmla="*/ 3292262 w 3292262"/>
              <a:gd name="connsiteY6" fmla="*/ 3921510 h 3921510"/>
              <a:gd name="connsiteX7" fmla="*/ 301960 w 3292262"/>
              <a:gd name="connsiteY7" fmla="*/ 3921510 h 3921510"/>
              <a:gd name="connsiteX8" fmla="*/ 661974 w 3292262"/>
              <a:gd name="connsiteY8" fmla="*/ 3351189 h 3921510"/>
              <a:gd name="connsiteX9" fmla="*/ 671793 w 3292262"/>
              <a:gd name="connsiteY9" fmla="*/ 3313022 h 3921510"/>
              <a:gd name="connsiteX10" fmla="*/ 673975 w 3292262"/>
              <a:gd name="connsiteY10" fmla="*/ 2685996 h 3921510"/>
              <a:gd name="connsiteX11" fmla="*/ 370690 w 3292262"/>
              <a:gd name="connsiteY11" fmla="*/ 2136393 h 3921510"/>
              <a:gd name="connsiteX12" fmla="*/ 342325 w 3292262"/>
              <a:gd name="connsiteY12" fmla="*/ 2108041 h 3921510"/>
              <a:gd name="connsiteX13" fmla="*/ 39040 w 3292262"/>
              <a:gd name="connsiteY13" fmla="*/ 1559529 h 3921510"/>
              <a:gd name="connsiteX14" fmla="*/ 41222 w 3292262"/>
              <a:gd name="connsiteY14" fmla="*/ 931412 h 3921510"/>
              <a:gd name="connsiteX15" fmla="*/ 52131 w 3292262"/>
              <a:gd name="connsiteY15" fmla="*/ 893245 h 3921510"/>
              <a:gd name="connsiteX16" fmla="*/ 939076 w 3292262"/>
              <a:gd name="connsiteY16" fmla="*/ 39399 h 3921510"/>
              <a:gd name="connsiteX17" fmla="*/ 1269090 w 3292262"/>
              <a:gd name="connsiteY17" fmla="*/ 142 h 3921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292262" h="3921510">
                <a:moveTo>
                  <a:pt x="1269090" y="142"/>
                </a:moveTo>
                <a:cubicBezTo>
                  <a:pt x="1377639" y="1778"/>
                  <a:pt x="1484007" y="17590"/>
                  <a:pt x="1586011" y="45942"/>
                </a:cubicBezTo>
                <a:cubicBezTo>
                  <a:pt x="1591466" y="48123"/>
                  <a:pt x="1596921" y="49214"/>
                  <a:pt x="1602376" y="51394"/>
                </a:cubicBezTo>
                <a:cubicBezTo>
                  <a:pt x="1605649" y="51394"/>
                  <a:pt x="1608921" y="52485"/>
                  <a:pt x="1612194" y="53575"/>
                </a:cubicBezTo>
                <a:cubicBezTo>
                  <a:pt x="1744200" y="90652"/>
                  <a:pt x="1863114" y="123366"/>
                  <a:pt x="1968936" y="153900"/>
                </a:cubicBezTo>
                <a:cubicBezTo>
                  <a:pt x="2574415" y="322924"/>
                  <a:pt x="2807879" y="388353"/>
                  <a:pt x="3292262" y="523573"/>
                </a:cubicBezTo>
                <a:cubicBezTo>
                  <a:pt x="3292262" y="3921510"/>
                  <a:pt x="3292262" y="3921510"/>
                  <a:pt x="3292262" y="3921510"/>
                </a:cubicBezTo>
                <a:lnTo>
                  <a:pt x="301960" y="3921510"/>
                </a:lnTo>
                <a:cubicBezTo>
                  <a:pt x="472148" y="3767752"/>
                  <a:pt x="596517" y="3570375"/>
                  <a:pt x="661974" y="3351189"/>
                </a:cubicBezTo>
                <a:cubicBezTo>
                  <a:pt x="665247" y="3338103"/>
                  <a:pt x="669611" y="3326108"/>
                  <a:pt x="671793" y="3313022"/>
                </a:cubicBezTo>
                <a:cubicBezTo>
                  <a:pt x="725249" y="3113464"/>
                  <a:pt x="728522" y="2898639"/>
                  <a:pt x="673975" y="2685996"/>
                </a:cubicBezTo>
                <a:cubicBezTo>
                  <a:pt x="619427" y="2472261"/>
                  <a:pt x="512514" y="2285789"/>
                  <a:pt x="370690" y="2136393"/>
                </a:cubicBezTo>
                <a:cubicBezTo>
                  <a:pt x="361962" y="2126579"/>
                  <a:pt x="352143" y="2116765"/>
                  <a:pt x="342325" y="2108041"/>
                </a:cubicBezTo>
                <a:cubicBezTo>
                  <a:pt x="200501" y="1958645"/>
                  <a:pt x="94678" y="1772173"/>
                  <a:pt x="39040" y="1559529"/>
                </a:cubicBezTo>
                <a:cubicBezTo>
                  <a:pt x="-15508" y="1345795"/>
                  <a:pt x="-11144" y="1130970"/>
                  <a:pt x="41222" y="931412"/>
                </a:cubicBezTo>
                <a:cubicBezTo>
                  <a:pt x="44495" y="919417"/>
                  <a:pt x="48858" y="906331"/>
                  <a:pt x="52131" y="893245"/>
                </a:cubicBezTo>
                <a:cubicBezTo>
                  <a:pt x="173227" y="487587"/>
                  <a:pt x="498331" y="152809"/>
                  <a:pt x="939076" y="39399"/>
                </a:cubicBezTo>
                <a:cubicBezTo>
                  <a:pt x="1049808" y="11047"/>
                  <a:pt x="1160540" y="-1494"/>
                  <a:pt x="1269090" y="142"/>
                </a:cubicBezTo>
                <a:close/>
              </a:path>
            </a:pathLst>
          </a:custGeom>
        </p:spPr>
        <p:txBody>
          <a:bodyPr wrap="square" tIns="154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56A187-5C21-6D84-21C3-FDB317F97CE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554587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colorful background with circles&#10;&#10;Description automatically generated with medium confidence">
            <a:extLst>
              <a:ext uri="{FF2B5EF4-FFF2-40B4-BE49-F238E27FC236}">
                <a16:creationId xmlns:a16="http://schemas.microsoft.com/office/drawing/2014/main" id="{553CAFF3-88CC-A44E-5E3C-DD2FD58608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0495" y="2315189"/>
            <a:ext cx="3404695" cy="4543836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7A3F113-29C8-F197-A2C1-B43918C6C9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48953" y="-5786"/>
            <a:ext cx="5847811" cy="4749490"/>
          </a:xfrm>
          <a:custGeom>
            <a:avLst/>
            <a:gdLst>
              <a:gd name="connsiteX0" fmla="*/ 1348177 w 5886451"/>
              <a:gd name="connsiteY0" fmla="*/ 0 h 4780873"/>
              <a:gd name="connsiteX1" fmla="*/ 5886451 w 5886451"/>
              <a:gd name="connsiteY1" fmla="*/ 0 h 4780873"/>
              <a:gd name="connsiteX2" fmla="*/ 5886451 w 5886451"/>
              <a:gd name="connsiteY2" fmla="*/ 2351144 h 4780873"/>
              <a:gd name="connsiteX3" fmla="*/ 3685444 w 5886451"/>
              <a:gd name="connsiteY3" fmla="*/ 4780873 h 4780873"/>
              <a:gd name="connsiteX4" fmla="*/ 3685444 w 5886451"/>
              <a:gd name="connsiteY4" fmla="*/ 4777665 h 4780873"/>
              <a:gd name="connsiteX5" fmla="*/ 3685444 w 5886451"/>
              <a:gd name="connsiteY5" fmla="*/ 4776061 h 4780873"/>
              <a:gd name="connsiteX6" fmla="*/ 3520329 w 5886451"/>
              <a:gd name="connsiteY6" fmla="*/ 4181058 h 4780873"/>
              <a:gd name="connsiteX7" fmla="*/ 3087501 w 5886451"/>
              <a:gd name="connsiteY7" fmla="*/ 3740018 h 4780873"/>
              <a:gd name="connsiteX8" fmla="*/ 3053837 w 5886451"/>
              <a:gd name="connsiteY8" fmla="*/ 3720773 h 4780873"/>
              <a:gd name="connsiteX9" fmla="*/ 1845127 w 5886451"/>
              <a:gd name="connsiteY9" fmla="*/ 3728792 h 4780873"/>
              <a:gd name="connsiteX10" fmla="*/ 1841921 w 5886451"/>
              <a:gd name="connsiteY10" fmla="*/ 3730396 h 4780873"/>
              <a:gd name="connsiteX11" fmla="*/ 1777798 w 5886451"/>
              <a:gd name="connsiteY11" fmla="*/ 3765679 h 4780873"/>
              <a:gd name="connsiteX12" fmla="*/ 1750546 w 5886451"/>
              <a:gd name="connsiteY12" fmla="*/ 3780113 h 4780873"/>
              <a:gd name="connsiteX13" fmla="*/ 1721691 w 5886451"/>
              <a:gd name="connsiteY13" fmla="*/ 3791339 h 4780873"/>
              <a:gd name="connsiteX14" fmla="*/ 1694439 w 5886451"/>
              <a:gd name="connsiteY14" fmla="*/ 3804170 h 4780873"/>
              <a:gd name="connsiteX15" fmla="*/ 1665584 w 5886451"/>
              <a:gd name="connsiteY15" fmla="*/ 3815396 h 4780873"/>
              <a:gd name="connsiteX16" fmla="*/ 1636729 w 5886451"/>
              <a:gd name="connsiteY16" fmla="*/ 3826623 h 4780873"/>
              <a:gd name="connsiteX17" fmla="*/ 1607873 w 5886451"/>
              <a:gd name="connsiteY17" fmla="*/ 3836245 h 4780873"/>
              <a:gd name="connsiteX18" fmla="*/ 1149397 w 5886451"/>
              <a:gd name="connsiteY18" fmla="*/ 3893981 h 4780873"/>
              <a:gd name="connsiteX19" fmla="*/ 1120542 w 5886451"/>
              <a:gd name="connsiteY19" fmla="*/ 3890774 h 4780873"/>
              <a:gd name="connsiteX20" fmla="*/ 1091687 w 5886451"/>
              <a:gd name="connsiteY20" fmla="*/ 3887566 h 4780873"/>
              <a:gd name="connsiteX21" fmla="*/ 1090084 w 5886451"/>
              <a:gd name="connsiteY21" fmla="*/ 3887566 h 4780873"/>
              <a:gd name="connsiteX22" fmla="*/ 1064435 w 5886451"/>
              <a:gd name="connsiteY22" fmla="*/ 3884359 h 4780873"/>
              <a:gd name="connsiteX23" fmla="*/ 1061229 w 5886451"/>
              <a:gd name="connsiteY23" fmla="*/ 3884359 h 4780873"/>
              <a:gd name="connsiteX24" fmla="*/ 1045198 w 5886451"/>
              <a:gd name="connsiteY24" fmla="*/ 3881151 h 4780873"/>
              <a:gd name="connsiteX25" fmla="*/ 1043595 w 5886451"/>
              <a:gd name="connsiteY25" fmla="*/ 3881151 h 4780873"/>
              <a:gd name="connsiteX26" fmla="*/ 1035579 w 5886451"/>
              <a:gd name="connsiteY26" fmla="*/ 3881151 h 4780873"/>
              <a:gd name="connsiteX27" fmla="*/ 1030770 w 5886451"/>
              <a:gd name="connsiteY27" fmla="*/ 3879547 h 4780873"/>
              <a:gd name="connsiteX28" fmla="*/ 1019549 w 5886451"/>
              <a:gd name="connsiteY28" fmla="*/ 3877944 h 4780873"/>
              <a:gd name="connsiteX29" fmla="*/ 1013137 w 5886451"/>
              <a:gd name="connsiteY29" fmla="*/ 3876340 h 4780873"/>
              <a:gd name="connsiteX30" fmla="*/ 1006724 w 5886451"/>
              <a:gd name="connsiteY30" fmla="*/ 3876340 h 4780873"/>
              <a:gd name="connsiteX31" fmla="*/ 1000312 w 5886451"/>
              <a:gd name="connsiteY31" fmla="*/ 3874736 h 4780873"/>
              <a:gd name="connsiteX32" fmla="*/ 992297 w 5886451"/>
              <a:gd name="connsiteY32" fmla="*/ 3873132 h 4780873"/>
              <a:gd name="connsiteX33" fmla="*/ 984281 w 5886451"/>
              <a:gd name="connsiteY33" fmla="*/ 3871528 h 4780873"/>
              <a:gd name="connsiteX34" fmla="*/ 979472 w 5886451"/>
              <a:gd name="connsiteY34" fmla="*/ 3869925 h 4780873"/>
              <a:gd name="connsiteX35" fmla="*/ 971457 w 5886451"/>
              <a:gd name="connsiteY35" fmla="*/ 3868321 h 4780873"/>
              <a:gd name="connsiteX36" fmla="*/ 966648 w 5886451"/>
              <a:gd name="connsiteY36" fmla="*/ 3866717 h 4780873"/>
              <a:gd name="connsiteX37" fmla="*/ 955426 w 5886451"/>
              <a:gd name="connsiteY37" fmla="*/ 3865113 h 4780873"/>
              <a:gd name="connsiteX38" fmla="*/ 950617 w 5886451"/>
              <a:gd name="connsiteY38" fmla="*/ 3863510 h 4780873"/>
              <a:gd name="connsiteX39" fmla="*/ 940999 w 5886451"/>
              <a:gd name="connsiteY39" fmla="*/ 3861906 h 4780873"/>
              <a:gd name="connsiteX40" fmla="*/ 937793 w 5886451"/>
              <a:gd name="connsiteY40" fmla="*/ 3860302 h 4780873"/>
              <a:gd name="connsiteX41" fmla="*/ 926571 w 5886451"/>
              <a:gd name="connsiteY41" fmla="*/ 3858698 h 4780873"/>
              <a:gd name="connsiteX42" fmla="*/ 923365 w 5886451"/>
              <a:gd name="connsiteY42" fmla="*/ 3857094 h 4780873"/>
              <a:gd name="connsiteX43" fmla="*/ 897716 w 5886451"/>
              <a:gd name="connsiteY43" fmla="*/ 3850679 h 4780873"/>
              <a:gd name="connsiteX44" fmla="*/ 894510 w 5886451"/>
              <a:gd name="connsiteY44" fmla="*/ 3849075 h 4780873"/>
              <a:gd name="connsiteX45" fmla="*/ 867258 w 5886451"/>
              <a:gd name="connsiteY45" fmla="*/ 3841057 h 4780873"/>
              <a:gd name="connsiteX46" fmla="*/ 630004 w 5886451"/>
              <a:gd name="connsiteY46" fmla="*/ 3740018 h 4780873"/>
              <a:gd name="connsiteX47" fmla="*/ 581912 w 5886451"/>
              <a:gd name="connsiteY47" fmla="*/ 3711150 h 4780873"/>
              <a:gd name="connsiteX48" fmla="*/ 578706 w 5886451"/>
              <a:gd name="connsiteY48" fmla="*/ 3709547 h 4780873"/>
              <a:gd name="connsiteX49" fmla="*/ 569088 w 5886451"/>
              <a:gd name="connsiteY49" fmla="*/ 3704735 h 4780873"/>
              <a:gd name="connsiteX50" fmla="*/ 562676 w 5886451"/>
              <a:gd name="connsiteY50" fmla="*/ 3699924 h 4780873"/>
              <a:gd name="connsiteX51" fmla="*/ 559469 w 5886451"/>
              <a:gd name="connsiteY51" fmla="*/ 3698320 h 4780873"/>
              <a:gd name="connsiteX52" fmla="*/ 163513 w 5886451"/>
              <a:gd name="connsiteY52" fmla="*/ 3281337 h 4780873"/>
              <a:gd name="connsiteX53" fmla="*/ 0 w 5886451"/>
              <a:gd name="connsiteY53" fmla="*/ 2687938 h 4780873"/>
              <a:gd name="connsiteX54" fmla="*/ 0 w 5886451"/>
              <a:gd name="connsiteY54" fmla="*/ 2649447 h 4780873"/>
              <a:gd name="connsiteX55" fmla="*/ 0 w 5886451"/>
              <a:gd name="connsiteY55" fmla="*/ 2647843 h 4780873"/>
              <a:gd name="connsiteX56" fmla="*/ 176337 w 5886451"/>
              <a:gd name="connsiteY56" fmla="*/ 2031991 h 4780873"/>
              <a:gd name="connsiteX57" fmla="*/ 1348177 w 5886451"/>
              <a:gd name="connsiteY57" fmla="*/ 0 h 478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5886451" h="4780873">
                <a:moveTo>
                  <a:pt x="1348177" y="0"/>
                </a:moveTo>
                <a:cubicBezTo>
                  <a:pt x="1348177" y="0"/>
                  <a:pt x="1348177" y="0"/>
                  <a:pt x="5886451" y="0"/>
                </a:cubicBezTo>
                <a:cubicBezTo>
                  <a:pt x="5886451" y="0"/>
                  <a:pt x="5886451" y="0"/>
                  <a:pt x="5886451" y="2351144"/>
                </a:cubicBezTo>
                <a:cubicBezTo>
                  <a:pt x="4653695" y="2477842"/>
                  <a:pt x="3693460" y="3517093"/>
                  <a:pt x="3685444" y="4780873"/>
                </a:cubicBezTo>
                <a:lnTo>
                  <a:pt x="3685444" y="4777665"/>
                </a:lnTo>
                <a:cubicBezTo>
                  <a:pt x="3685444" y="4777665"/>
                  <a:pt x="3685444" y="4776061"/>
                  <a:pt x="3685444" y="4776061"/>
                </a:cubicBezTo>
                <a:cubicBezTo>
                  <a:pt x="3682238" y="4573985"/>
                  <a:pt x="3629337" y="4368701"/>
                  <a:pt x="3520329" y="4181058"/>
                </a:cubicBezTo>
                <a:cubicBezTo>
                  <a:pt x="3412923" y="3993416"/>
                  <a:pt x="3262235" y="3844264"/>
                  <a:pt x="3087501" y="3740018"/>
                </a:cubicBezTo>
                <a:cubicBezTo>
                  <a:pt x="3076280" y="3733603"/>
                  <a:pt x="3065058" y="3727188"/>
                  <a:pt x="3053837" y="3720773"/>
                </a:cubicBezTo>
                <a:cubicBezTo>
                  <a:pt x="2689942" y="3518697"/>
                  <a:pt x="2231465" y="3507470"/>
                  <a:pt x="1845127" y="3728792"/>
                </a:cubicBezTo>
                <a:cubicBezTo>
                  <a:pt x="1843524" y="3730396"/>
                  <a:pt x="1843524" y="3730396"/>
                  <a:pt x="1841921" y="3730396"/>
                </a:cubicBezTo>
                <a:cubicBezTo>
                  <a:pt x="1821081" y="3743226"/>
                  <a:pt x="1800241" y="3754452"/>
                  <a:pt x="1777798" y="3765679"/>
                </a:cubicBezTo>
                <a:cubicBezTo>
                  <a:pt x="1769783" y="3770490"/>
                  <a:pt x="1760164" y="3775302"/>
                  <a:pt x="1750546" y="3780113"/>
                </a:cubicBezTo>
                <a:cubicBezTo>
                  <a:pt x="1740928" y="3783320"/>
                  <a:pt x="1731309" y="3788132"/>
                  <a:pt x="1721691" y="3791339"/>
                </a:cubicBezTo>
                <a:cubicBezTo>
                  <a:pt x="1713676" y="3796151"/>
                  <a:pt x="1704057" y="3799358"/>
                  <a:pt x="1694439" y="3804170"/>
                </a:cubicBezTo>
                <a:cubicBezTo>
                  <a:pt x="1684820" y="3807377"/>
                  <a:pt x="1675202" y="3812189"/>
                  <a:pt x="1665584" y="3815396"/>
                </a:cubicBezTo>
                <a:cubicBezTo>
                  <a:pt x="1655965" y="3818604"/>
                  <a:pt x="1646347" y="3821811"/>
                  <a:pt x="1636729" y="3826623"/>
                </a:cubicBezTo>
                <a:cubicBezTo>
                  <a:pt x="1627110" y="3829830"/>
                  <a:pt x="1617492" y="3833038"/>
                  <a:pt x="1607873" y="3836245"/>
                </a:cubicBezTo>
                <a:cubicBezTo>
                  <a:pt x="1457185" y="3884359"/>
                  <a:pt x="1303291" y="3903604"/>
                  <a:pt x="1149397" y="3893981"/>
                </a:cubicBezTo>
                <a:cubicBezTo>
                  <a:pt x="1139779" y="3892378"/>
                  <a:pt x="1130160" y="3892378"/>
                  <a:pt x="1120542" y="3890774"/>
                </a:cubicBezTo>
                <a:cubicBezTo>
                  <a:pt x="1110924" y="3890774"/>
                  <a:pt x="1101305" y="3889170"/>
                  <a:pt x="1091687" y="3887566"/>
                </a:cubicBezTo>
                <a:cubicBezTo>
                  <a:pt x="1091687" y="3887566"/>
                  <a:pt x="1091687" y="3887566"/>
                  <a:pt x="1090084" y="3887566"/>
                </a:cubicBezTo>
                <a:cubicBezTo>
                  <a:pt x="1082068" y="3887566"/>
                  <a:pt x="1072450" y="3885962"/>
                  <a:pt x="1064435" y="3884359"/>
                </a:cubicBezTo>
                <a:cubicBezTo>
                  <a:pt x="1064435" y="3884359"/>
                  <a:pt x="1064435" y="3884359"/>
                  <a:pt x="1061229" y="3884359"/>
                </a:cubicBezTo>
                <a:cubicBezTo>
                  <a:pt x="1054816" y="3882755"/>
                  <a:pt x="1050007" y="3882755"/>
                  <a:pt x="1045198" y="3881151"/>
                </a:cubicBezTo>
                <a:cubicBezTo>
                  <a:pt x="1043595" y="3881151"/>
                  <a:pt x="1043595" y="3881151"/>
                  <a:pt x="1043595" y="3881151"/>
                </a:cubicBezTo>
                <a:cubicBezTo>
                  <a:pt x="1040389" y="3881151"/>
                  <a:pt x="1038786" y="3881151"/>
                  <a:pt x="1035579" y="3881151"/>
                </a:cubicBezTo>
                <a:cubicBezTo>
                  <a:pt x="1033976" y="3879547"/>
                  <a:pt x="1032373" y="3879547"/>
                  <a:pt x="1030770" y="3879547"/>
                </a:cubicBezTo>
                <a:cubicBezTo>
                  <a:pt x="1027564" y="3879547"/>
                  <a:pt x="1022755" y="3877944"/>
                  <a:pt x="1019549" y="3877944"/>
                </a:cubicBezTo>
                <a:cubicBezTo>
                  <a:pt x="1017946" y="3877944"/>
                  <a:pt x="1016343" y="3877944"/>
                  <a:pt x="1013137" y="3876340"/>
                </a:cubicBezTo>
                <a:cubicBezTo>
                  <a:pt x="1011534" y="3876340"/>
                  <a:pt x="1009931" y="3876340"/>
                  <a:pt x="1006724" y="3876340"/>
                </a:cubicBezTo>
                <a:cubicBezTo>
                  <a:pt x="1005121" y="3874736"/>
                  <a:pt x="1003518" y="3874736"/>
                  <a:pt x="1000312" y="3874736"/>
                </a:cubicBezTo>
                <a:cubicBezTo>
                  <a:pt x="998709" y="3874736"/>
                  <a:pt x="995503" y="3873132"/>
                  <a:pt x="992297" y="3873132"/>
                </a:cubicBezTo>
                <a:cubicBezTo>
                  <a:pt x="990694" y="3873132"/>
                  <a:pt x="987488" y="3871528"/>
                  <a:pt x="984281" y="3871528"/>
                </a:cubicBezTo>
                <a:cubicBezTo>
                  <a:pt x="982679" y="3871528"/>
                  <a:pt x="981076" y="3869925"/>
                  <a:pt x="979472" y="3869925"/>
                </a:cubicBezTo>
                <a:cubicBezTo>
                  <a:pt x="976266" y="3869925"/>
                  <a:pt x="973060" y="3868321"/>
                  <a:pt x="971457" y="3868321"/>
                </a:cubicBezTo>
                <a:cubicBezTo>
                  <a:pt x="969854" y="3868321"/>
                  <a:pt x="968251" y="3868321"/>
                  <a:pt x="966648" y="3866717"/>
                </a:cubicBezTo>
                <a:cubicBezTo>
                  <a:pt x="961839" y="3866717"/>
                  <a:pt x="958632" y="3865113"/>
                  <a:pt x="955426" y="3865113"/>
                </a:cubicBezTo>
                <a:cubicBezTo>
                  <a:pt x="953823" y="3865113"/>
                  <a:pt x="952220" y="3863510"/>
                  <a:pt x="950617" y="3863510"/>
                </a:cubicBezTo>
                <a:cubicBezTo>
                  <a:pt x="947411" y="3863510"/>
                  <a:pt x="944205" y="3861906"/>
                  <a:pt x="940999" y="3861906"/>
                </a:cubicBezTo>
                <a:cubicBezTo>
                  <a:pt x="939396" y="3861906"/>
                  <a:pt x="939396" y="3861906"/>
                  <a:pt x="937793" y="3860302"/>
                </a:cubicBezTo>
                <a:cubicBezTo>
                  <a:pt x="934586" y="3860302"/>
                  <a:pt x="929777" y="3858698"/>
                  <a:pt x="926571" y="3858698"/>
                </a:cubicBezTo>
                <a:cubicBezTo>
                  <a:pt x="924968" y="3857094"/>
                  <a:pt x="923365" y="3857094"/>
                  <a:pt x="923365" y="3857094"/>
                </a:cubicBezTo>
                <a:cubicBezTo>
                  <a:pt x="913747" y="3855491"/>
                  <a:pt x="905732" y="3852283"/>
                  <a:pt x="897716" y="3850679"/>
                </a:cubicBezTo>
                <a:cubicBezTo>
                  <a:pt x="896113" y="3850679"/>
                  <a:pt x="896113" y="3849075"/>
                  <a:pt x="894510" y="3849075"/>
                </a:cubicBezTo>
                <a:cubicBezTo>
                  <a:pt x="886495" y="3847472"/>
                  <a:pt x="876876" y="3844264"/>
                  <a:pt x="867258" y="3841057"/>
                </a:cubicBezTo>
                <a:cubicBezTo>
                  <a:pt x="785502" y="3817000"/>
                  <a:pt x="705348" y="3783320"/>
                  <a:pt x="630004" y="3740018"/>
                </a:cubicBezTo>
                <a:cubicBezTo>
                  <a:pt x="612371" y="3730396"/>
                  <a:pt x="596340" y="3720773"/>
                  <a:pt x="581912" y="3711150"/>
                </a:cubicBezTo>
                <a:cubicBezTo>
                  <a:pt x="580309" y="3711150"/>
                  <a:pt x="580309" y="3711150"/>
                  <a:pt x="578706" y="3709547"/>
                </a:cubicBezTo>
                <a:cubicBezTo>
                  <a:pt x="575500" y="3707943"/>
                  <a:pt x="572294" y="3706339"/>
                  <a:pt x="569088" y="3704735"/>
                </a:cubicBezTo>
                <a:cubicBezTo>
                  <a:pt x="567485" y="3703131"/>
                  <a:pt x="564279" y="3701528"/>
                  <a:pt x="562676" y="3699924"/>
                </a:cubicBezTo>
                <a:cubicBezTo>
                  <a:pt x="561073" y="3698320"/>
                  <a:pt x="559469" y="3698320"/>
                  <a:pt x="559469" y="3698320"/>
                </a:cubicBezTo>
                <a:cubicBezTo>
                  <a:pt x="400766" y="3595678"/>
                  <a:pt x="264506" y="3454545"/>
                  <a:pt x="163513" y="3281337"/>
                </a:cubicBezTo>
                <a:cubicBezTo>
                  <a:pt x="56107" y="3093694"/>
                  <a:pt x="3206" y="2890014"/>
                  <a:pt x="0" y="2687938"/>
                </a:cubicBezTo>
                <a:cubicBezTo>
                  <a:pt x="0" y="2675108"/>
                  <a:pt x="0" y="2662277"/>
                  <a:pt x="0" y="2649447"/>
                </a:cubicBezTo>
                <a:cubicBezTo>
                  <a:pt x="0" y="2647843"/>
                  <a:pt x="0" y="2647843"/>
                  <a:pt x="0" y="2647843"/>
                </a:cubicBezTo>
                <a:cubicBezTo>
                  <a:pt x="3206" y="2429729"/>
                  <a:pt x="64123" y="2218030"/>
                  <a:pt x="176337" y="2031991"/>
                </a:cubicBezTo>
                <a:cubicBezTo>
                  <a:pt x="763059" y="1013590"/>
                  <a:pt x="782295" y="981514"/>
                  <a:pt x="1348177" y="0"/>
                </a:cubicBezTo>
                <a:close/>
              </a:path>
            </a:pathLst>
          </a:custGeom>
        </p:spPr>
        <p:txBody>
          <a:bodyPr wrap="square" tIns="194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C4DAE7-361A-9A7C-2ED8-C9B08AC308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7645301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 descr="A yellow and white wave&#10;&#10;Description automatically generated">
            <a:extLst>
              <a:ext uri="{FF2B5EF4-FFF2-40B4-BE49-F238E27FC236}">
                <a16:creationId xmlns:a16="http://schemas.microsoft.com/office/drawing/2014/main" id="{E3AE4C31-1513-8690-5A19-C5DAE72245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406" y="3356815"/>
            <a:ext cx="4452594" cy="3501185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61892DA-CFC4-B8E3-39CB-54CC852A6B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56493" y="576296"/>
            <a:ext cx="6130366" cy="5583110"/>
          </a:xfrm>
          <a:custGeom>
            <a:avLst/>
            <a:gdLst>
              <a:gd name="connsiteX0" fmla="*/ 1801914 w 5494338"/>
              <a:gd name="connsiteY0" fmla="*/ 636 h 5003860"/>
              <a:gd name="connsiteX1" fmla="*/ 1846212 w 5494338"/>
              <a:gd name="connsiteY1" fmla="*/ 636 h 5003860"/>
              <a:gd name="connsiteX2" fmla="*/ 3645268 w 5494338"/>
              <a:gd name="connsiteY2" fmla="*/ 636 h 5003860"/>
              <a:gd name="connsiteX3" fmla="*/ 4108250 w 5494338"/>
              <a:gd name="connsiteY3" fmla="*/ 114958 h 5003860"/>
              <a:gd name="connsiteX4" fmla="*/ 4108250 w 5494338"/>
              <a:gd name="connsiteY4" fmla="*/ 116387 h 5003860"/>
              <a:gd name="connsiteX5" fmla="*/ 4163980 w 5494338"/>
              <a:gd name="connsiteY5" fmla="*/ 149254 h 5003860"/>
              <a:gd name="connsiteX6" fmla="*/ 4166837 w 5494338"/>
              <a:gd name="connsiteY6" fmla="*/ 152112 h 5003860"/>
              <a:gd name="connsiteX7" fmla="*/ 4169695 w 5494338"/>
              <a:gd name="connsiteY7" fmla="*/ 153541 h 5003860"/>
              <a:gd name="connsiteX8" fmla="*/ 4172553 w 5494338"/>
              <a:gd name="connsiteY8" fmla="*/ 154970 h 5003860"/>
              <a:gd name="connsiteX9" fmla="*/ 4176840 w 5494338"/>
              <a:gd name="connsiteY9" fmla="*/ 157828 h 5003860"/>
              <a:gd name="connsiteX10" fmla="*/ 4178269 w 5494338"/>
              <a:gd name="connsiteY10" fmla="*/ 159257 h 5003860"/>
              <a:gd name="connsiteX11" fmla="*/ 4455487 w 5494338"/>
              <a:gd name="connsiteY11" fmla="*/ 457923 h 5003860"/>
              <a:gd name="connsiteX12" fmla="*/ 5371448 w 5494338"/>
              <a:gd name="connsiteY12" fmla="*/ 2044135 h 5003860"/>
              <a:gd name="connsiteX13" fmla="*/ 5488622 w 5494338"/>
              <a:gd name="connsiteY13" fmla="*/ 2404248 h 5003860"/>
              <a:gd name="connsiteX14" fmla="*/ 5488622 w 5494338"/>
              <a:gd name="connsiteY14" fmla="*/ 2405677 h 5003860"/>
              <a:gd name="connsiteX15" fmla="*/ 5490051 w 5494338"/>
              <a:gd name="connsiteY15" fmla="*/ 2411393 h 5003860"/>
              <a:gd name="connsiteX16" fmla="*/ 5490051 w 5494338"/>
              <a:gd name="connsiteY16" fmla="*/ 2414251 h 5003860"/>
              <a:gd name="connsiteX17" fmla="*/ 5490051 w 5494338"/>
              <a:gd name="connsiteY17" fmla="*/ 2417109 h 5003860"/>
              <a:gd name="connsiteX18" fmla="*/ 5490051 w 5494338"/>
              <a:gd name="connsiteY18" fmla="*/ 2422825 h 5003860"/>
              <a:gd name="connsiteX19" fmla="*/ 5491480 w 5494338"/>
              <a:gd name="connsiteY19" fmla="*/ 2424254 h 5003860"/>
              <a:gd name="connsiteX20" fmla="*/ 5494338 w 5494338"/>
              <a:gd name="connsiteY20" fmla="*/ 2515711 h 5003860"/>
              <a:gd name="connsiteX21" fmla="*/ 5490051 w 5494338"/>
              <a:gd name="connsiteY21" fmla="*/ 2585733 h 5003860"/>
              <a:gd name="connsiteX22" fmla="*/ 5490051 w 5494338"/>
              <a:gd name="connsiteY22" fmla="*/ 2592878 h 5003860"/>
              <a:gd name="connsiteX23" fmla="*/ 5488622 w 5494338"/>
              <a:gd name="connsiteY23" fmla="*/ 2600023 h 5003860"/>
              <a:gd name="connsiteX24" fmla="*/ 5487193 w 5494338"/>
              <a:gd name="connsiteY24" fmla="*/ 2607168 h 5003860"/>
              <a:gd name="connsiteX25" fmla="*/ 5487193 w 5494338"/>
              <a:gd name="connsiteY25" fmla="*/ 2608597 h 5003860"/>
              <a:gd name="connsiteX26" fmla="*/ 5487193 w 5494338"/>
              <a:gd name="connsiteY26" fmla="*/ 2614313 h 5003860"/>
              <a:gd name="connsiteX27" fmla="*/ 5487193 w 5494338"/>
              <a:gd name="connsiteY27" fmla="*/ 2615742 h 5003860"/>
              <a:gd name="connsiteX28" fmla="*/ 5485764 w 5494338"/>
              <a:gd name="connsiteY28" fmla="*/ 2621459 h 5003860"/>
              <a:gd name="connsiteX29" fmla="*/ 5485764 w 5494338"/>
              <a:gd name="connsiteY29" fmla="*/ 2622888 h 5003860"/>
              <a:gd name="connsiteX30" fmla="*/ 5485764 w 5494338"/>
              <a:gd name="connsiteY30" fmla="*/ 2628604 h 5003860"/>
              <a:gd name="connsiteX31" fmla="*/ 5484336 w 5494338"/>
              <a:gd name="connsiteY31" fmla="*/ 2630033 h 5003860"/>
              <a:gd name="connsiteX32" fmla="*/ 5484336 w 5494338"/>
              <a:gd name="connsiteY32" fmla="*/ 2635749 h 5003860"/>
              <a:gd name="connsiteX33" fmla="*/ 5484336 w 5494338"/>
              <a:gd name="connsiteY33" fmla="*/ 2638607 h 5003860"/>
              <a:gd name="connsiteX34" fmla="*/ 5482906 w 5494338"/>
              <a:gd name="connsiteY34" fmla="*/ 2642894 h 5003860"/>
              <a:gd name="connsiteX35" fmla="*/ 5482906 w 5494338"/>
              <a:gd name="connsiteY35" fmla="*/ 2645752 h 5003860"/>
              <a:gd name="connsiteX36" fmla="*/ 5481478 w 5494338"/>
              <a:gd name="connsiteY36" fmla="*/ 2650039 h 5003860"/>
              <a:gd name="connsiteX37" fmla="*/ 5481478 w 5494338"/>
              <a:gd name="connsiteY37" fmla="*/ 2652897 h 5003860"/>
              <a:gd name="connsiteX38" fmla="*/ 5481478 w 5494338"/>
              <a:gd name="connsiteY38" fmla="*/ 2655755 h 5003860"/>
              <a:gd name="connsiteX39" fmla="*/ 5480048 w 5494338"/>
              <a:gd name="connsiteY39" fmla="*/ 2660042 h 5003860"/>
              <a:gd name="connsiteX40" fmla="*/ 5480048 w 5494338"/>
              <a:gd name="connsiteY40" fmla="*/ 2662900 h 5003860"/>
              <a:gd name="connsiteX41" fmla="*/ 5478620 w 5494338"/>
              <a:gd name="connsiteY41" fmla="*/ 2667187 h 5003860"/>
              <a:gd name="connsiteX42" fmla="*/ 5478620 w 5494338"/>
              <a:gd name="connsiteY42" fmla="*/ 2668616 h 5003860"/>
              <a:gd name="connsiteX43" fmla="*/ 5362874 w 5494338"/>
              <a:gd name="connsiteY43" fmla="*/ 2974426 h 5003860"/>
              <a:gd name="connsiteX44" fmla="*/ 4462632 w 5494338"/>
              <a:gd name="connsiteY44" fmla="*/ 4532058 h 5003860"/>
              <a:gd name="connsiteX45" fmla="*/ 4121111 w 5494338"/>
              <a:gd name="connsiteY45" fmla="*/ 4880739 h 5003860"/>
              <a:gd name="connsiteX46" fmla="*/ 3376624 w 5494338"/>
              <a:gd name="connsiteY46" fmla="*/ 4957906 h 5003860"/>
              <a:gd name="connsiteX47" fmla="*/ 3358048 w 5494338"/>
              <a:gd name="connsiteY47" fmla="*/ 4950761 h 5003860"/>
              <a:gd name="connsiteX48" fmla="*/ 3355190 w 5494338"/>
              <a:gd name="connsiteY48" fmla="*/ 4950761 h 5003860"/>
              <a:gd name="connsiteX49" fmla="*/ 3349474 w 5494338"/>
              <a:gd name="connsiteY49" fmla="*/ 4947903 h 5003860"/>
              <a:gd name="connsiteX50" fmla="*/ 3348045 w 5494338"/>
              <a:gd name="connsiteY50" fmla="*/ 4947903 h 5003860"/>
              <a:gd name="connsiteX51" fmla="*/ 3338043 w 5494338"/>
              <a:gd name="connsiteY51" fmla="*/ 4943616 h 5003860"/>
              <a:gd name="connsiteX52" fmla="*/ 3335185 w 5494338"/>
              <a:gd name="connsiteY52" fmla="*/ 4942187 h 5003860"/>
              <a:gd name="connsiteX53" fmla="*/ 3329469 w 5494338"/>
              <a:gd name="connsiteY53" fmla="*/ 4940758 h 5003860"/>
              <a:gd name="connsiteX54" fmla="*/ 3325182 w 5494338"/>
              <a:gd name="connsiteY54" fmla="*/ 4939329 h 5003860"/>
              <a:gd name="connsiteX55" fmla="*/ 3318037 w 5494338"/>
              <a:gd name="connsiteY55" fmla="*/ 4936471 h 5003860"/>
              <a:gd name="connsiteX56" fmla="*/ 3313750 w 5494338"/>
              <a:gd name="connsiteY56" fmla="*/ 4935042 h 5003860"/>
              <a:gd name="connsiteX57" fmla="*/ 3309464 w 5494338"/>
              <a:gd name="connsiteY57" fmla="*/ 4932184 h 5003860"/>
              <a:gd name="connsiteX58" fmla="*/ 3302319 w 5494338"/>
              <a:gd name="connsiteY58" fmla="*/ 4929326 h 5003860"/>
              <a:gd name="connsiteX59" fmla="*/ 3299461 w 5494338"/>
              <a:gd name="connsiteY59" fmla="*/ 4927897 h 5003860"/>
              <a:gd name="connsiteX60" fmla="*/ 3292316 w 5494338"/>
              <a:gd name="connsiteY60" fmla="*/ 4925039 h 5003860"/>
              <a:gd name="connsiteX61" fmla="*/ 3289458 w 5494338"/>
              <a:gd name="connsiteY61" fmla="*/ 4923610 h 5003860"/>
              <a:gd name="connsiteX62" fmla="*/ 3282313 w 5494338"/>
              <a:gd name="connsiteY62" fmla="*/ 4920752 h 5003860"/>
              <a:gd name="connsiteX63" fmla="*/ 3279455 w 5494338"/>
              <a:gd name="connsiteY63" fmla="*/ 4919323 h 5003860"/>
              <a:gd name="connsiteX64" fmla="*/ 3272311 w 5494338"/>
              <a:gd name="connsiteY64" fmla="*/ 4916465 h 5003860"/>
              <a:gd name="connsiteX65" fmla="*/ 3270882 w 5494338"/>
              <a:gd name="connsiteY65" fmla="*/ 4915036 h 5003860"/>
              <a:gd name="connsiteX66" fmla="*/ 3260879 w 5494338"/>
              <a:gd name="connsiteY66" fmla="*/ 4910749 h 5003860"/>
              <a:gd name="connsiteX67" fmla="*/ 3250876 w 5494338"/>
              <a:gd name="connsiteY67" fmla="*/ 4906461 h 5003860"/>
              <a:gd name="connsiteX68" fmla="*/ 3240874 w 5494338"/>
              <a:gd name="connsiteY68" fmla="*/ 4900745 h 5003860"/>
              <a:gd name="connsiteX69" fmla="*/ 3216581 w 5494338"/>
              <a:gd name="connsiteY69" fmla="*/ 4887884 h 5003860"/>
              <a:gd name="connsiteX70" fmla="*/ 3137989 w 5494338"/>
              <a:gd name="connsiteY70" fmla="*/ 4839298 h 5003860"/>
              <a:gd name="connsiteX71" fmla="*/ 3135131 w 5494338"/>
              <a:gd name="connsiteY71" fmla="*/ 4836439 h 5003860"/>
              <a:gd name="connsiteX72" fmla="*/ 3129415 w 5494338"/>
              <a:gd name="connsiteY72" fmla="*/ 4832152 h 5003860"/>
              <a:gd name="connsiteX73" fmla="*/ 3127986 w 5494338"/>
              <a:gd name="connsiteY73" fmla="*/ 4830723 h 5003860"/>
              <a:gd name="connsiteX74" fmla="*/ 3119412 w 5494338"/>
              <a:gd name="connsiteY74" fmla="*/ 4825007 h 5003860"/>
              <a:gd name="connsiteX75" fmla="*/ 3117983 w 5494338"/>
              <a:gd name="connsiteY75" fmla="*/ 4825007 h 5003860"/>
              <a:gd name="connsiteX76" fmla="*/ 2869345 w 5494338"/>
              <a:gd name="connsiteY76" fmla="*/ 4544919 h 5003860"/>
              <a:gd name="connsiteX77" fmla="*/ 2749313 w 5494338"/>
              <a:gd name="connsiteY77" fmla="*/ 4154797 h 5003860"/>
              <a:gd name="connsiteX78" fmla="*/ 2749313 w 5494338"/>
              <a:gd name="connsiteY78" fmla="*/ 4149081 h 5003860"/>
              <a:gd name="connsiteX79" fmla="*/ 2749313 w 5494338"/>
              <a:gd name="connsiteY79" fmla="*/ 4146223 h 5003860"/>
              <a:gd name="connsiteX80" fmla="*/ 2747884 w 5494338"/>
              <a:gd name="connsiteY80" fmla="*/ 4141936 h 5003860"/>
              <a:gd name="connsiteX81" fmla="*/ 2747884 w 5494338"/>
              <a:gd name="connsiteY81" fmla="*/ 4137649 h 5003860"/>
              <a:gd name="connsiteX82" fmla="*/ 2747884 w 5494338"/>
              <a:gd name="connsiteY82" fmla="*/ 4136220 h 5003860"/>
              <a:gd name="connsiteX83" fmla="*/ 2746455 w 5494338"/>
              <a:gd name="connsiteY83" fmla="*/ 4074772 h 5003860"/>
              <a:gd name="connsiteX84" fmla="*/ 2746455 w 5494338"/>
              <a:gd name="connsiteY84" fmla="*/ 4073343 h 5003860"/>
              <a:gd name="connsiteX85" fmla="*/ 2623564 w 5494338"/>
              <a:gd name="connsiteY85" fmla="*/ 3630347 h 5003860"/>
              <a:gd name="connsiteX86" fmla="*/ 2302049 w 5494338"/>
              <a:gd name="connsiteY86" fmla="*/ 3301672 h 5003860"/>
              <a:gd name="connsiteX87" fmla="*/ 2276328 w 5494338"/>
              <a:gd name="connsiteY87" fmla="*/ 3287382 h 5003860"/>
              <a:gd name="connsiteX88" fmla="*/ 1376085 w 5494338"/>
              <a:gd name="connsiteY88" fmla="*/ 3293098 h 5003860"/>
              <a:gd name="connsiteX89" fmla="*/ 1373227 w 5494338"/>
              <a:gd name="connsiteY89" fmla="*/ 3294527 h 5003860"/>
              <a:gd name="connsiteX90" fmla="*/ 1326072 w 5494338"/>
              <a:gd name="connsiteY90" fmla="*/ 3320249 h 5003860"/>
              <a:gd name="connsiteX91" fmla="*/ 1304638 w 5494338"/>
              <a:gd name="connsiteY91" fmla="*/ 3330252 h 5003860"/>
              <a:gd name="connsiteX92" fmla="*/ 1283203 w 5494338"/>
              <a:gd name="connsiteY92" fmla="*/ 3340256 h 5003860"/>
              <a:gd name="connsiteX93" fmla="*/ 1263198 w 5494338"/>
              <a:gd name="connsiteY93" fmla="*/ 3348830 h 5003860"/>
              <a:gd name="connsiteX94" fmla="*/ 1241763 w 5494338"/>
              <a:gd name="connsiteY94" fmla="*/ 3357404 h 5003860"/>
              <a:gd name="connsiteX95" fmla="*/ 1220329 w 5494338"/>
              <a:gd name="connsiteY95" fmla="*/ 3365978 h 5003860"/>
              <a:gd name="connsiteX96" fmla="*/ 1198895 w 5494338"/>
              <a:gd name="connsiteY96" fmla="*/ 3373123 h 5003860"/>
              <a:gd name="connsiteX97" fmla="*/ 857374 w 5494338"/>
              <a:gd name="connsiteY97" fmla="*/ 3415994 h 5003860"/>
              <a:gd name="connsiteX98" fmla="*/ 834511 w 5494338"/>
              <a:gd name="connsiteY98" fmla="*/ 3414565 h 5003860"/>
              <a:gd name="connsiteX99" fmla="*/ 814505 w 5494338"/>
              <a:gd name="connsiteY99" fmla="*/ 3411707 h 5003860"/>
              <a:gd name="connsiteX100" fmla="*/ 813076 w 5494338"/>
              <a:gd name="connsiteY100" fmla="*/ 3411707 h 5003860"/>
              <a:gd name="connsiteX101" fmla="*/ 793071 w 5494338"/>
              <a:gd name="connsiteY101" fmla="*/ 3408849 h 5003860"/>
              <a:gd name="connsiteX102" fmla="*/ 791642 w 5494338"/>
              <a:gd name="connsiteY102" fmla="*/ 3408849 h 5003860"/>
              <a:gd name="connsiteX103" fmla="*/ 778782 w 5494338"/>
              <a:gd name="connsiteY103" fmla="*/ 3407419 h 5003860"/>
              <a:gd name="connsiteX104" fmla="*/ 777353 w 5494338"/>
              <a:gd name="connsiteY104" fmla="*/ 3407419 h 5003860"/>
              <a:gd name="connsiteX105" fmla="*/ 771637 w 5494338"/>
              <a:gd name="connsiteY105" fmla="*/ 3405990 h 5003860"/>
              <a:gd name="connsiteX106" fmla="*/ 768779 w 5494338"/>
              <a:gd name="connsiteY106" fmla="*/ 3405990 h 5003860"/>
              <a:gd name="connsiteX107" fmla="*/ 760205 w 5494338"/>
              <a:gd name="connsiteY107" fmla="*/ 3404561 h 5003860"/>
              <a:gd name="connsiteX108" fmla="*/ 755918 w 5494338"/>
              <a:gd name="connsiteY108" fmla="*/ 3403132 h 5003860"/>
              <a:gd name="connsiteX109" fmla="*/ 751631 w 5494338"/>
              <a:gd name="connsiteY109" fmla="*/ 3403132 h 5003860"/>
              <a:gd name="connsiteX110" fmla="*/ 745915 w 5494338"/>
              <a:gd name="connsiteY110" fmla="*/ 3401703 h 5003860"/>
              <a:gd name="connsiteX111" fmla="*/ 740200 w 5494338"/>
              <a:gd name="connsiteY111" fmla="*/ 3400274 h 5003860"/>
              <a:gd name="connsiteX112" fmla="*/ 734484 w 5494338"/>
              <a:gd name="connsiteY112" fmla="*/ 3398845 h 5003860"/>
              <a:gd name="connsiteX113" fmla="*/ 730197 w 5494338"/>
              <a:gd name="connsiteY113" fmla="*/ 3398845 h 5003860"/>
              <a:gd name="connsiteX114" fmla="*/ 724481 w 5494338"/>
              <a:gd name="connsiteY114" fmla="*/ 3397416 h 5003860"/>
              <a:gd name="connsiteX115" fmla="*/ 720194 w 5494338"/>
              <a:gd name="connsiteY115" fmla="*/ 3395987 h 5003860"/>
              <a:gd name="connsiteX116" fmla="*/ 711621 w 5494338"/>
              <a:gd name="connsiteY116" fmla="*/ 3394558 h 5003860"/>
              <a:gd name="connsiteX117" fmla="*/ 708763 w 5494338"/>
              <a:gd name="connsiteY117" fmla="*/ 3393129 h 5003860"/>
              <a:gd name="connsiteX118" fmla="*/ 701618 w 5494338"/>
              <a:gd name="connsiteY118" fmla="*/ 3391700 h 5003860"/>
              <a:gd name="connsiteX119" fmla="*/ 700189 w 5494338"/>
              <a:gd name="connsiteY119" fmla="*/ 3391700 h 5003860"/>
              <a:gd name="connsiteX120" fmla="*/ 690186 w 5494338"/>
              <a:gd name="connsiteY120" fmla="*/ 3388842 h 5003860"/>
              <a:gd name="connsiteX121" fmla="*/ 688757 w 5494338"/>
              <a:gd name="connsiteY121" fmla="*/ 3388842 h 5003860"/>
              <a:gd name="connsiteX122" fmla="*/ 668752 w 5494338"/>
              <a:gd name="connsiteY122" fmla="*/ 3383126 h 5003860"/>
              <a:gd name="connsiteX123" fmla="*/ 667323 w 5494338"/>
              <a:gd name="connsiteY123" fmla="*/ 3383126 h 5003860"/>
              <a:gd name="connsiteX124" fmla="*/ 647317 w 5494338"/>
              <a:gd name="connsiteY124" fmla="*/ 3377410 h 5003860"/>
              <a:gd name="connsiteX125" fmla="*/ 470127 w 5494338"/>
              <a:gd name="connsiteY125" fmla="*/ 3301672 h 5003860"/>
              <a:gd name="connsiteX126" fmla="*/ 468698 w 5494338"/>
              <a:gd name="connsiteY126" fmla="*/ 3301672 h 5003860"/>
              <a:gd name="connsiteX127" fmla="*/ 432974 w 5494338"/>
              <a:gd name="connsiteY127" fmla="*/ 3280237 h 5003860"/>
              <a:gd name="connsiteX128" fmla="*/ 431545 w 5494338"/>
              <a:gd name="connsiteY128" fmla="*/ 3278808 h 5003860"/>
              <a:gd name="connsiteX129" fmla="*/ 424400 w 5494338"/>
              <a:gd name="connsiteY129" fmla="*/ 3274521 h 5003860"/>
              <a:gd name="connsiteX130" fmla="*/ 418684 w 5494338"/>
              <a:gd name="connsiteY130" fmla="*/ 3271663 h 5003860"/>
              <a:gd name="connsiteX131" fmla="*/ 417255 w 5494338"/>
              <a:gd name="connsiteY131" fmla="*/ 3270234 h 5003860"/>
              <a:gd name="connsiteX132" fmla="*/ 122891 w 5494338"/>
              <a:gd name="connsiteY132" fmla="*/ 2960136 h 5003860"/>
              <a:gd name="connsiteX133" fmla="*/ 0 w 5494338"/>
              <a:gd name="connsiteY133" fmla="*/ 2517140 h 5003860"/>
              <a:gd name="connsiteX134" fmla="*/ 0 w 5494338"/>
              <a:gd name="connsiteY134" fmla="*/ 2488560 h 5003860"/>
              <a:gd name="connsiteX135" fmla="*/ 0 w 5494338"/>
              <a:gd name="connsiteY135" fmla="*/ 2487131 h 5003860"/>
              <a:gd name="connsiteX136" fmla="*/ 131464 w 5494338"/>
              <a:gd name="connsiteY136" fmla="*/ 2028415 h 5003860"/>
              <a:gd name="connsiteX137" fmla="*/ 1030278 w 5494338"/>
              <a:gd name="connsiteY137" fmla="*/ 470784 h 5003860"/>
              <a:gd name="connsiteX138" fmla="*/ 1033136 w 5494338"/>
              <a:gd name="connsiteY138" fmla="*/ 467926 h 5003860"/>
              <a:gd name="connsiteX139" fmla="*/ 1034565 w 5494338"/>
              <a:gd name="connsiteY139" fmla="*/ 465068 h 5003860"/>
              <a:gd name="connsiteX140" fmla="*/ 1038852 w 5494338"/>
              <a:gd name="connsiteY140" fmla="*/ 456494 h 5003860"/>
              <a:gd name="connsiteX141" fmla="*/ 1040281 w 5494338"/>
              <a:gd name="connsiteY141" fmla="*/ 453635 h 5003860"/>
              <a:gd name="connsiteX142" fmla="*/ 1043138 w 5494338"/>
              <a:gd name="connsiteY142" fmla="*/ 447919 h 5003860"/>
              <a:gd name="connsiteX143" fmla="*/ 1045996 w 5494338"/>
              <a:gd name="connsiteY143" fmla="*/ 445061 h 5003860"/>
              <a:gd name="connsiteX144" fmla="*/ 1050283 w 5494338"/>
              <a:gd name="connsiteY144" fmla="*/ 437916 h 5003860"/>
              <a:gd name="connsiteX145" fmla="*/ 1051712 w 5494338"/>
              <a:gd name="connsiteY145" fmla="*/ 435058 h 5003860"/>
              <a:gd name="connsiteX146" fmla="*/ 1054570 w 5494338"/>
              <a:gd name="connsiteY146" fmla="*/ 429342 h 5003860"/>
              <a:gd name="connsiteX147" fmla="*/ 1057428 w 5494338"/>
              <a:gd name="connsiteY147" fmla="*/ 426484 h 5003860"/>
              <a:gd name="connsiteX148" fmla="*/ 1061715 w 5494338"/>
              <a:gd name="connsiteY148" fmla="*/ 419339 h 5003860"/>
              <a:gd name="connsiteX149" fmla="*/ 1063144 w 5494338"/>
              <a:gd name="connsiteY149" fmla="*/ 416481 h 5003860"/>
              <a:gd name="connsiteX150" fmla="*/ 1067431 w 5494338"/>
              <a:gd name="connsiteY150" fmla="*/ 410765 h 5003860"/>
              <a:gd name="connsiteX151" fmla="*/ 1068860 w 5494338"/>
              <a:gd name="connsiteY151" fmla="*/ 407907 h 5003860"/>
              <a:gd name="connsiteX152" fmla="*/ 1074576 w 5494338"/>
              <a:gd name="connsiteY152" fmla="*/ 400762 h 5003860"/>
              <a:gd name="connsiteX153" fmla="*/ 1076004 w 5494338"/>
              <a:gd name="connsiteY153" fmla="*/ 397904 h 5003860"/>
              <a:gd name="connsiteX154" fmla="*/ 1080291 w 5494338"/>
              <a:gd name="connsiteY154" fmla="*/ 392188 h 5003860"/>
              <a:gd name="connsiteX155" fmla="*/ 1081720 w 5494338"/>
              <a:gd name="connsiteY155" fmla="*/ 389330 h 5003860"/>
              <a:gd name="connsiteX156" fmla="*/ 1087436 w 5494338"/>
              <a:gd name="connsiteY156" fmla="*/ 382185 h 5003860"/>
              <a:gd name="connsiteX157" fmla="*/ 1088865 w 5494338"/>
              <a:gd name="connsiteY157" fmla="*/ 379326 h 5003860"/>
              <a:gd name="connsiteX158" fmla="*/ 1093152 w 5494338"/>
              <a:gd name="connsiteY158" fmla="*/ 373610 h 5003860"/>
              <a:gd name="connsiteX159" fmla="*/ 1094581 w 5494338"/>
              <a:gd name="connsiteY159" fmla="*/ 372181 h 5003860"/>
              <a:gd name="connsiteX160" fmla="*/ 1100297 w 5494338"/>
              <a:gd name="connsiteY160" fmla="*/ 365036 h 5003860"/>
              <a:gd name="connsiteX161" fmla="*/ 1101726 w 5494338"/>
              <a:gd name="connsiteY161" fmla="*/ 362178 h 5003860"/>
              <a:gd name="connsiteX162" fmla="*/ 1107442 w 5494338"/>
              <a:gd name="connsiteY162" fmla="*/ 353604 h 5003860"/>
              <a:gd name="connsiteX163" fmla="*/ 1113157 w 5494338"/>
              <a:gd name="connsiteY163" fmla="*/ 346459 h 5003860"/>
              <a:gd name="connsiteX164" fmla="*/ 1114586 w 5494338"/>
              <a:gd name="connsiteY164" fmla="*/ 345030 h 5003860"/>
              <a:gd name="connsiteX165" fmla="*/ 1127447 w 5494338"/>
              <a:gd name="connsiteY165" fmla="*/ 329311 h 5003860"/>
              <a:gd name="connsiteX166" fmla="*/ 1128876 w 5494338"/>
              <a:gd name="connsiteY166" fmla="*/ 327882 h 5003860"/>
              <a:gd name="connsiteX167" fmla="*/ 1143165 w 5494338"/>
              <a:gd name="connsiteY167" fmla="*/ 312163 h 5003860"/>
              <a:gd name="connsiteX168" fmla="*/ 1143165 w 5494338"/>
              <a:gd name="connsiteY168" fmla="*/ 310734 h 5003860"/>
              <a:gd name="connsiteX169" fmla="*/ 1157455 w 5494338"/>
              <a:gd name="connsiteY169" fmla="*/ 295014 h 5003860"/>
              <a:gd name="connsiteX170" fmla="*/ 1158884 w 5494338"/>
              <a:gd name="connsiteY170" fmla="*/ 293585 h 5003860"/>
              <a:gd name="connsiteX171" fmla="*/ 1173174 w 5494338"/>
              <a:gd name="connsiteY171" fmla="*/ 277866 h 5003860"/>
              <a:gd name="connsiteX172" fmla="*/ 1373227 w 5494338"/>
              <a:gd name="connsiteY172" fmla="*/ 122103 h 5003860"/>
              <a:gd name="connsiteX173" fmla="*/ 1543273 w 5494338"/>
              <a:gd name="connsiteY173" fmla="*/ 46365 h 5003860"/>
              <a:gd name="connsiteX174" fmla="*/ 1553276 w 5494338"/>
              <a:gd name="connsiteY174" fmla="*/ 43507 h 5003860"/>
              <a:gd name="connsiteX175" fmla="*/ 1563279 w 5494338"/>
              <a:gd name="connsiteY175" fmla="*/ 39220 h 5003860"/>
              <a:gd name="connsiteX176" fmla="*/ 1564708 w 5494338"/>
              <a:gd name="connsiteY176" fmla="*/ 39220 h 5003860"/>
              <a:gd name="connsiteX177" fmla="*/ 1574710 w 5494338"/>
              <a:gd name="connsiteY177" fmla="*/ 36362 h 5003860"/>
              <a:gd name="connsiteX178" fmla="*/ 1576139 w 5494338"/>
              <a:gd name="connsiteY178" fmla="*/ 36362 h 5003860"/>
              <a:gd name="connsiteX179" fmla="*/ 1584713 w 5494338"/>
              <a:gd name="connsiteY179" fmla="*/ 33504 h 5003860"/>
              <a:gd name="connsiteX180" fmla="*/ 1587571 w 5494338"/>
              <a:gd name="connsiteY180" fmla="*/ 33504 h 5003860"/>
              <a:gd name="connsiteX181" fmla="*/ 1596145 w 5494338"/>
              <a:gd name="connsiteY181" fmla="*/ 30646 h 5003860"/>
              <a:gd name="connsiteX182" fmla="*/ 1597574 w 5494338"/>
              <a:gd name="connsiteY182" fmla="*/ 30646 h 5003860"/>
              <a:gd name="connsiteX183" fmla="*/ 1607576 w 5494338"/>
              <a:gd name="connsiteY183" fmla="*/ 27788 h 5003860"/>
              <a:gd name="connsiteX184" fmla="*/ 1609005 w 5494338"/>
              <a:gd name="connsiteY184" fmla="*/ 27788 h 5003860"/>
              <a:gd name="connsiteX185" fmla="*/ 1617579 w 5494338"/>
              <a:gd name="connsiteY185" fmla="*/ 24930 h 5003860"/>
              <a:gd name="connsiteX186" fmla="*/ 1619008 w 5494338"/>
              <a:gd name="connsiteY186" fmla="*/ 24930 h 5003860"/>
              <a:gd name="connsiteX187" fmla="*/ 1629011 w 5494338"/>
              <a:gd name="connsiteY187" fmla="*/ 22072 h 5003860"/>
              <a:gd name="connsiteX188" fmla="*/ 1631869 w 5494338"/>
              <a:gd name="connsiteY188" fmla="*/ 22072 h 5003860"/>
              <a:gd name="connsiteX189" fmla="*/ 1636155 w 5494338"/>
              <a:gd name="connsiteY189" fmla="*/ 20643 h 5003860"/>
              <a:gd name="connsiteX190" fmla="*/ 1639013 w 5494338"/>
              <a:gd name="connsiteY190" fmla="*/ 20643 h 5003860"/>
              <a:gd name="connsiteX191" fmla="*/ 1641871 w 5494338"/>
              <a:gd name="connsiteY191" fmla="*/ 19213 h 5003860"/>
              <a:gd name="connsiteX192" fmla="*/ 1643300 w 5494338"/>
              <a:gd name="connsiteY192" fmla="*/ 19213 h 5003860"/>
              <a:gd name="connsiteX193" fmla="*/ 1650445 w 5494338"/>
              <a:gd name="connsiteY193" fmla="*/ 17784 h 5003860"/>
              <a:gd name="connsiteX194" fmla="*/ 1654732 w 5494338"/>
              <a:gd name="connsiteY194" fmla="*/ 17784 h 5003860"/>
              <a:gd name="connsiteX195" fmla="*/ 1657590 w 5494338"/>
              <a:gd name="connsiteY195" fmla="*/ 16355 h 5003860"/>
              <a:gd name="connsiteX196" fmla="*/ 1660448 w 5494338"/>
              <a:gd name="connsiteY196" fmla="*/ 16355 h 5003860"/>
              <a:gd name="connsiteX197" fmla="*/ 1664735 w 5494338"/>
              <a:gd name="connsiteY197" fmla="*/ 14926 h 5003860"/>
              <a:gd name="connsiteX198" fmla="*/ 1666164 w 5494338"/>
              <a:gd name="connsiteY198" fmla="*/ 14926 h 5003860"/>
              <a:gd name="connsiteX199" fmla="*/ 1671879 w 5494338"/>
              <a:gd name="connsiteY199" fmla="*/ 13497 h 5003860"/>
              <a:gd name="connsiteX200" fmla="*/ 1676166 w 5494338"/>
              <a:gd name="connsiteY200" fmla="*/ 13497 h 5003860"/>
              <a:gd name="connsiteX201" fmla="*/ 1679024 w 5494338"/>
              <a:gd name="connsiteY201" fmla="*/ 12068 h 5003860"/>
              <a:gd name="connsiteX202" fmla="*/ 1681882 w 5494338"/>
              <a:gd name="connsiteY202" fmla="*/ 12068 h 5003860"/>
              <a:gd name="connsiteX203" fmla="*/ 1687598 w 5494338"/>
              <a:gd name="connsiteY203" fmla="*/ 10639 h 5003860"/>
              <a:gd name="connsiteX204" fmla="*/ 1689027 w 5494338"/>
              <a:gd name="connsiteY204" fmla="*/ 10639 h 5003860"/>
              <a:gd name="connsiteX205" fmla="*/ 1693314 w 5494338"/>
              <a:gd name="connsiteY205" fmla="*/ 10639 h 5003860"/>
              <a:gd name="connsiteX206" fmla="*/ 1699030 w 5494338"/>
              <a:gd name="connsiteY206" fmla="*/ 9210 h 5003860"/>
              <a:gd name="connsiteX207" fmla="*/ 1701887 w 5494338"/>
              <a:gd name="connsiteY207" fmla="*/ 9210 h 5003860"/>
              <a:gd name="connsiteX208" fmla="*/ 1703316 w 5494338"/>
              <a:gd name="connsiteY208" fmla="*/ 9210 h 5003860"/>
              <a:gd name="connsiteX209" fmla="*/ 1710461 w 5494338"/>
              <a:gd name="connsiteY209" fmla="*/ 7781 h 5003860"/>
              <a:gd name="connsiteX210" fmla="*/ 1711890 w 5494338"/>
              <a:gd name="connsiteY210" fmla="*/ 7781 h 5003860"/>
              <a:gd name="connsiteX211" fmla="*/ 1713319 w 5494338"/>
              <a:gd name="connsiteY211" fmla="*/ 7781 h 5003860"/>
              <a:gd name="connsiteX212" fmla="*/ 1714748 w 5494338"/>
              <a:gd name="connsiteY212" fmla="*/ 7781 h 5003860"/>
              <a:gd name="connsiteX213" fmla="*/ 1721893 w 5494338"/>
              <a:gd name="connsiteY213" fmla="*/ 6352 h 5003860"/>
              <a:gd name="connsiteX214" fmla="*/ 1723322 w 5494338"/>
              <a:gd name="connsiteY214" fmla="*/ 6352 h 5003860"/>
              <a:gd name="connsiteX215" fmla="*/ 1724751 w 5494338"/>
              <a:gd name="connsiteY215" fmla="*/ 6352 h 5003860"/>
              <a:gd name="connsiteX216" fmla="*/ 1726180 w 5494338"/>
              <a:gd name="connsiteY216" fmla="*/ 6352 h 5003860"/>
              <a:gd name="connsiteX217" fmla="*/ 1733325 w 5494338"/>
              <a:gd name="connsiteY217" fmla="*/ 4923 h 5003860"/>
              <a:gd name="connsiteX218" fmla="*/ 1734753 w 5494338"/>
              <a:gd name="connsiteY218" fmla="*/ 4923 h 5003860"/>
              <a:gd name="connsiteX219" fmla="*/ 1736182 w 5494338"/>
              <a:gd name="connsiteY219" fmla="*/ 4923 h 5003860"/>
              <a:gd name="connsiteX220" fmla="*/ 1744756 w 5494338"/>
              <a:gd name="connsiteY220" fmla="*/ 3494 h 5003860"/>
              <a:gd name="connsiteX221" fmla="*/ 1756188 w 5494338"/>
              <a:gd name="connsiteY221" fmla="*/ 3494 h 5003860"/>
              <a:gd name="connsiteX222" fmla="*/ 1759046 w 5494338"/>
              <a:gd name="connsiteY222" fmla="*/ 3494 h 5003860"/>
              <a:gd name="connsiteX223" fmla="*/ 1779051 w 5494338"/>
              <a:gd name="connsiteY223" fmla="*/ 2065 h 5003860"/>
              <a:gd name="connsiteX224" fmla="*/ 1801914 w 5494338"/>
              <a:gd name="connsiteY224" fmla="*/ 636 h 5003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5494338" h="5003860">
                <a:moveTo>
                  <a:pt x="1801914" y="636"/>
                </a:moveTo>
                <a:cubicBezTo>
                  <a:pt x="1816204" y="636"/>
                  <a:pt x="1831923" y="-793"/>
                  <a:pt x="1846212" y="636"/>
                </a:cubicBezTo>
                <a:cubicBezTo>
                  <a:pt x="2740739" y="636"/>
                  <a:pt x="2752170" y="636"/>
                  <a:pt x="3645268" y="636"/>
                </a:cubicBezTo>
                <a:cubicBezTo>
                  <a:pt x="3806740" y="-2222"/>
                  <a:pt x="3966784" y="37791"/>
                  <a:pt x="4108250" y="114958"/>
                </a:cubicBezTo>
                <a:cubicBezTo>
                  <a:pt x="4108250" y="114958"/>
                  <a:pt x="4108250" y="116387"/>
                  <a:pt x="4108250" y="116387"/>
                </a:cubicBezTo>
                <a:cubicBezTo>
                  <a:pt x="4126827" y="126390"/>
                  <a:pt x="4145403" y="136393"/>
                  <a:pt x="4163980" y="149254"/>
                </a:cubicBezTo>
                <a:cubicBezTo>
                  <a:pt x="4163980" y="149254"/>
                  <a:pt x="4165409" y="150683"/>
                  <a:pt x="4166837" y="152112"/>
                </a:cubicBezTo>
                <a:cubicBezTo>
                  <a:pt x="4168266" y="152112"/>
                  <a:pt x="4169695" y="152112"/>
                  <a:pt x="4169695" y="153541"/>
                </a:cubicBezTo>
                <a:cubicBezTo>
                  <a:pt x="4171124" y="153541"/>
                  <a:pt x="4171124" y="154970"/>
                  <a:pt x="4172553" y="154970"/>
                </a:cubicBezTo>
                <a:cubicBezTo>
                  <a:pt x="4173982" y="156399"/>
                  <a:pt x="4175411" y="156399"/>
                  <a:pt x="4176840" y="157828"/>
                </a:cubicBezTo>
                <a:cubicBezTo>
                  <a:pt x="4176840" y="157828"/>
                  <a:pt x="4178269" y="157828"/>
                  <a:pt x="4178269" y="159257"/>
                </a:cubicBezTo>
                <a:cubicBezTo>
                  <a:pt x="4288299" y="233566"/>
                  <a:pt x="4384039" y="335027"/>
                  <a:pt x="4455487" y="457923"/>
                </a:cubicBezTo>
                <a:cubicBezTo>
                  <a:pt x="4455487" y="457923"/>
                  <a:pt x="4455487" y="457923"/>
                  <a:pt x="5371448" y="2044135"/>
                </a:cubicBezTo>
                <a:cubicBezTo>
                  <a:pt x="5437180" y="2158456"/>
                  <a:pt x="5475762" y="2281352"/>
                  <a:pt x="5488622" y="2404248"/>
                </a:cubicBezTo>
                <a:cubicBezTo>
                  <a:pt x="5488622" y="2404248"/>
                  <a:pt x="5488622" y="2404248"/>
                  <a:pt x="5488622" y="2405677"/>
                </a:cubicBezTo>
                <a:cubicBezTo>
                  <a:pt x="5488622" y="2407106"/>
                  <a:pt x="5490051" y="2408535"/>
                  <a:pt x="5490051" y="2411393"/>
                </a:cubicBezTo>
                <a:cubicBezTo>
                  <a:pt x="5490051" y="2411393"/>
                  <a:pt x="5490051" y="2412822"/>
                  <a:pt x="5490051" y="2414251"/>
                </a:cubicBezTo>
                <a:cubicBezTo>
                  <a:pt x="5490051" y="2415680"/>
                  <a:pt x="5490051" y="2417109"/>
                  <a:pt x="5490051" y="2417109"/>
                </a:cubicBezTo>
                <a:cubicBezTo>
                  <a:pt x="5490051" y="2418538"/>
                  <a:pt x="5490051" y="2421396"/>
                  <a:pt x="5490051" y="2422825"/>
                </a:cubicBezTo>
                <a:cubicBezTo>
                  <a:pt x="5490051" y="2422825"/>
                  <a:pt x="5490051" y="2424254"/>
                  <a:pt x="5491480" y="2424254"/>
                </a:cubicBezTo>
                <a:cubicBezTo>
                  <a:pt x="5492909" y="2454263"/>
                  <a:pt x="5494338" y="2485702"/>
                  <a:pt x="5494338" y="2515711"/>
                </a:cubicBezTo>
                <a:cubicBezTo>
                  <a:pt x="5492909" y="2538575"/>
                  <a:pt x="5492909" y="2562869"/>
                  <a:pt x="5490051" y="2585733"/>
                </a:cubicBezTo>
                <a:cubicBezTo>
                  <a:pt x="5490051" y="2587162"/>
                  <a:pt x="5490051" y="2590020"/>
                  <a:pt x="5490051" y="2592878"/>
                </a:cubicBezTo>
                <a:cubicBezTo>
                  <a:pt x="5488622" y="2595736"/>
                  <a:pt x="5488622" y="2597165"/>
                  <a:pt x="5488622" y="2600023"/>
                </a:cubicBezTo>
                <a:cubicBezTo>
                  <a:pt x="5488622" y="2602881"/>
                  <a:pt x="5488622" y="2604310"/>
                  <a:pt x="5487193" y="2607168"/>
                </a:cubicBezTo>
                <a:cubicBezTo>
                  <a:pt x="5487193" y="2607168"/>
                  <a:pt x="5487193" y="2607168"/>
                  <a:pt x="5487193" y="2608597"/>
                </a:cubicBezTo>
                <a:cubicBezTo>
                  <a:pt x="5487193" y="2610026"/>
                  <a:pt x="5487193" y="2611455"/>
                  <a:pt x="5487193" y="2614313"/>
                </a:cubicBezTo>
                <a:cubicBezTo>
                  <a:pt x="5487193" y="2614313"/>
                  <a:pt x="5487193" y="2615742"/>
                  <a:pt x="5487193" y="2615742"/>
                </a:cubicBezTo>
                <a:cubicBezTo>
                  <a:pt x="5487193" y="2617172"/>
                  <a:pt x="5485764" y="2618601"/>
                  <a:pt x="5485764" y="2621459"/>
                </a:cubicBezTo>
                <a:cubicBezTo>
                  <a:pt x="5485764" y="2621459"/>
                  <a:pt x="5485764" y="2622888"/>
                  <a:pt x="5485764" y="2622888"/>
                </a:cubicBezTo>
                <a:cubicBezTo>
                  <a:pt x="5485764" y="2624317"/>
                  <a:pt x="5485764" y="2627175"/>
                  <a:pt x="5485764" y="2628604"/>
                </a:cubicBezTo>
                <a:cubicBezTo>
                  <a:pt x="5484336" y="2628604"/>
                  <a:pt x="5484336" y="2630033"/>
                  <a:pt x="5484336" y="2630033"/>
                </a:cubicBezTo>
                <a:cubicBezTo>
                  <a:pt x="5484336" y="2632891"/>
                  <a:pt x="5484336" y="2634320"/>
                  <a:pt x="5484336" y="2635749"/>
                </a:cubicBezTo>
                <a:cubicBezTo>
                  <a:pt x="5484336" y="2635749"/>
                  <a:pt x="5484336" y="2637178"/>
                  <a:pt x="5484336" y="2638607"/>
                </a:cubicBezTo>
                <a:cubicBezTo>
                  <a:pt x="5482906" y="2640036"/>
                  <a:pt x="5482906" y="2641465"/>
                  <a:pt x="5482906" y="2642894"/>
                </a:cubicBezTo>
                <a:cubicBezTo>
                  <a:pt x="5482906" y="2642894"/>
                  <a:pt x="5482906" y="2644323"/>
                  <a:pt x="5482906" y="2645752"/>
                </a:cubicBezTo>
                <a:cubicBezTo>
                  <a:pt x="5482906" y="2647181"/>
                  <a:pt x="5481478" y="2648610"/>
                  <a:pt x="5481478" y="2650039"/>
                </a:cubicBezTo>
                <a:cubicBezTo>
                  <a:pt x="5481478" y="2650039"/>
                  <a:pt x="5481478" y="2651468"/>
                  <a:pt x="5481478" y="2652897"/>
                </a:cubicBezTo>
                <a:cubicBezTo>
                  <a:pt x="5481478" y="2654326"/>
                  <a:pt x="5481478" y="2655755"/>
                  <a:pt x="5481478" y="2655755"/>
                </a:cubicBezTo>
                <a:cubicBezTo>
                  <a:pt x="5480048" y="2657184"/>
                  <a:pt x="5480048" y="2658613"/>
                  <a:pt x="5480048" y="2660042"/>
                </a:cubicBezTo>
                <a:cubicBezTo>
                  <a:pt x="5480048" y="2661471"/>
                  <a:pt x="5480048" y="2661471"/>
                  <a:pt x="5480048" y="2662900"/>
                </a:cubicBezTo>
                <a:cubicBezTo>
                  <a:pt x="5478620" y="2664329"/>
                  <a:pt x="5478620" y="2665758"/>
                  <a:pt x="5478620" y="2667187"/>
                </a:cubicBezTo>
                <a:cubicBezTo>
                  <a:pt x="5478620" y="2668616"/>
                  <a:pt x="5478620" y="2668616"/>
                  <a:pt x="5478620" y="2668616"/>
                </a:cubicBezTo>
                <a:cubicBezTo>
                  <a:pt x="5458614" y="2775793"/>
                  <a:pt x="5420033" y="2880111"/>
                  <a:pt x="5362874" y="2974426"/>
                </a:cubicBezTo>
                <a:cubicBezTo>
                  <a:pt x="4915611" y="3748955"/>
                  <a:pt x="4909895" y="3757529"/>
                  <a:pt x="4462632" y="4532058"/>
                </a:cubicBezTo>
                <a:cubicBezTo>
                  <a:pt x="4385468" y="4673531"/>
                  <a:pt x="4269722" y="4794998"/>
                  <a:pt x="4121111" y="4880739"/>
                </a:cubicBezTo>
                <a:cubicBezTo>
                  <a:pt x="3885333" y="5016496"/>
                  <a:pt x="3615260" y="5036502"/>
                  <a:pt x="3376624" y="4957906"/>
                </a:cubicBezTo>
                <a:cubicBezTo>
                  <a:pt x="3370909" y="4955048"/>
                  <a:pt x="3363764" y="4953619"/>
                  <a:pt x="3358048" y="4950761"/>
                </a:cubicBezTo>
                <a:cubicBezTo>
                  <a:pt x="3356619" y="4950761"/>
                  <a:pt x="3356619" y="4950761"/>
                  <a:pt x="3355190" y="4950761"/>
                </a:cubicBezTo>
                <a:cubicBezTo>
                  <a:pt x="3353761" y="4949332"/>
                  <a:pt x="3350903" y="4949332"/>
                  <a:pt x="3349474" y="4947903"/>
                </a:cubicBezTo>
                <a:cubicBezTo>
                  <a:pt x="3349474" y="4947903"/>
                  <a:pt x="3349474" y="4947903"/>
                  <a:pt x="3348045" y="4947903"/>
                </a:cubicBezTo>
                <a:cubicBezTo>
                  <a:pt x="3345187" y="4946474"/>
                  <a:pt x="3340901" y="4945045"/>
                  <a:pt x="3338043" y="4943616"/>
                </a:cubicBezTo>
                <a:cubicBezTo>
                  <a:pt x="3336614" y="4943616"/>
                  <a:pt x="3335185" y="4943616"/>
                  <a:pt x="3335185" y="4942187"/>
                </a:cubicBezTo>
                <a:cubicBezTo>
                  <a:pt x="3332327" y="4942187"/>
                  <a:pt x="3330898" y="4940758"/>
                  <a:pt x="3329469" y="4940758"/>
                </a:cubicBezTo>
                <a:cubicBezTo>
                  <a:pt x="3328040" y="4940758"/>
                  <a:pt x="3326611" y="4939329"/>
                  <a:pt x="3325182" y="4939329"/>
                </a:cubicBezTo>
                <a:cubicBezTo>
                  <a:pt x="3322324" y="4937900"/>
                  <a:pt x="3320895" y="4937900"/>
                  <a:pt x="3318037" y="4936471"/>
                </a:cubicBezTo>
                <a:cubicBezTo>
                  <a:pt x="3316608" y="4935042"/>
                  <a:pt x="3315179" y="4935042"/>
                  <a:pt x="3313750" y="4935042"/>
                </a:cubicBezTo>
                <a:cubicBezTo>
                  <a:pt x="3312321" y="4933613"/>
                  <a:pt x="3310892" y="4933613"/>
                  <a:pt x="3309464" y="4932184"/>
                </a:cubicBezTo>
                <a:cubicBezTo>
                  <a:pt x="3306606" y="4932184"/>
                  <a:pt x="3305177" y="4930755"/>
                  <a:pt x="3302319" y="4929326"/>
                </a:cubicBezTo>
                <a:cubicBezTo>
                  <a:pt x="3300890" y="4929326"/>
                  <a:pt x="3299461" y="4929326"/>
                  <a:pt x="3299461" y="4927897"/>
                </a:cubicBezTo>
                <a:cubicBezTo>
                  <a:pt x="3296603" y="4927897"/>
                  <a:pt x="3295174" y="4926468"/>
                  <a:pt x="3292316" y="4925039"/>
                </a:cubicBezTo>
                <a:cubicBezTo>
                  <a:pt x="3292316" y="4925039"/>
                  <a:pt x="3290887" y="4925039"/>
                  <a:pt x="3289458" y="4923610"/>
                </a:cubicBezTo>
                <a:cubicBezTo>
                  <a:pt x="3286600" y="4923610"/>
                  <a:pt x="3283742" y="4922181"/>
                  <a:pt x="3282313" y="4920752"/>
                </a:cubicBezTo>
                <a:cubicBezTo>
                  <a:pt x="3280884" y="4920752"/>
                  <a:pt x="3280884" y="4919323"/>
                  <a:pt x="3279455" y="4919323"/>
                </a:cubicBezTo>
                <a:cubicBezTo>
                  <a:pt x="3276598" y="4917894"/>
                  <a:pt x="3275169" y="4917894"/>
                  <a:pt x="3272311" y="4916465"/>
                </a:cubicBezTo>
                <a:cubicBezTo>
                  <a:pt x="3270882" y="4916465"/>
                  <a:pt x="3270882" y="4915036"/>
                  <a:pt x="3270882" y="4915036"/>
                </a:cubicBezTo>
                <a:cubicBezTo>
                  <a:pt x="3266595" y="4913607"/>
                  <a:pt x="3263737" y="4912178"/>
                  <a:pt x="3260879" y="4910749"/>
                </a:cubicBezTo>
                <a:cubicBezTo>
                  <a:pt x="3258021" y="4909319"/>
                  <a:pt x="3253734" y="4907890"/>
                  <a:pt x="3250876" y="4906461"/>
                </a:cubicBezTo>
                <a:cubicBezTo>
                  <a:pt x="3248018" y="4903603"/>
                  <a:pt x="3245160" y="4902174"/>
                  <a:pt x="3240874" y="4900745"/>
                </a:cubicBezTo>
                <a:cubicBezTo>
                  <a:pt x="3233729" y="4896458"/>
                  <a:pt x="3225155" y="4892171"/>
                  <a:pt x="3216581" y="4887884"/>
                </a:cubicBezTo>
                <a:cubicBezTo>
                  <a:pt x="3189431" y="4872165"/>
                  <a:pt x="3163710" y="4856446"/>
                  <a:pt x="3137989" y="4839298"/>
                </a:cubicBezTo>
                <a:cubicBezTo>
                  <a:pt x="3137989" y="4837868"/>
                  <a:pt x="3136560" y="4837868"/>
                  <a:pt x="3135131" y="4836439"/>
                </a:cubicBezTo>
                <a:cubicBezTo>
                  <a:pt x="3133702" y="4835010"/>
                  <a:pt x="3130844" y="4833581"/>
                  <a:pt x="3129415" y="4832152"/>
                </a:cubicBezTo>
                <a:cubicBezTo>
                  <a:pt x="3129415" y="4832152"/>
                  <a:pt x="3127986" y="4832152"/>
                  <a:pt x="3127986" y="4830723"/>
                </a:cubicBezTo>
                <a:cubicBezTo>
                  <a:pt x="3125128" y="4829294"/>
                  <a:pt x="3122270" y="4827865"/>
                  <a:pt x="3119412" y="4825007"/>
                </a:cubicBezTo>
                <a:cubicBezTo>
                  <a:pt x="3119412" y="4825007"/>
                  <a:pt x="3119412" y="4825007"/>
                  <a:pt x="3117983" y="4825007"/>
                </a:cubicBezTo>
                <a:cubicBezTo>
                  <a:pt x="3019385" y="4752127"/>
                  <a:pt x="2935077" y="4657812"/>
                  <a:pt x="2869345" y="4544919"/>
                </a:cubicBezTo>
                <a:cubicBezTo>
                  <a:pt x="2797897" y="4422024"/>
                  <a:pt x="2759315" y="4289125"/>
                  <a:pt x="2749313" y="4154797"/>
                </a:cubicBezTo>
                <a:cubicBezTo>
                  <a:pt x="2749313" y="4153368"/>
                  <a:pt x="2749313" y="4150510"/>
                  <a:pt x="2749313" y="4149081"/>
                </a:cubicBezTo>
                <a:cubicBezTo>
                  <a:pt x="2749313" y="4147652"/>
                  <a:pt x="2749313" y="4147652"/>
                  <a:pt x="2749313" y="4146223"/>
                </a:cubicBezTo>
                <a:cubicBezTo>
                  <a:pt x="2747884" y="4144794"/>
                  <a:pt x="2747884" y="4143365"/>
                  <a:pt x="2747884" y="4141936"/>
                </a:cubicBezTo>
                <a:cubicBezTo>
                  <a:pt x="2747884" y="4140507"/>
                  <a:pt x="2747884" y="4139078"/>
                  <a:pt x="2747884" y="4137649"/>
                </a:cubicBezTo>
                <a:cubicBezTo>
                  <a:pt x="2747884" y="4137649"/>
                  <a:pt x="2747884" y="4137649"/>
                  <a:pt x="2747884" y="4136220"/>
                </a:cubicBezTo>
                <a:cubicBezTo>
                  <a:pt x="2746455" y="4116213"/>
                  <a:pt x="2746455" y="4094778"/>
                  <a:pt x="2746455" y="4074772"/>
                </a:cubicBezTo>
                <a:cubicBezTo>
                  <a:pt x="2746455" y="4073343"/>
                  <a:pt x="2746455" y="4073343"/>
                  <a:pt x="2746455" y="4073343"/>
                </a:cubicBezTo>
                <a:cubicBezTo>
                  <a:pt x="2745026" y="3921867"/>
                  <a:pt x="2705015" y="3770391"/>
                  <a:pt x="2623564" y="3630347"/>
                </a:cubicBezTo>
                <a:cubicBezTo>
                  <a:pt x="2543543" y="3490303"/>
                  <a:pt x="2430655" y="3378839"/>
                  <a:pt x="2302049" y="3301672"/>
                </a:cubicBezTo>
                <a:cubicBezTo>
                  <a:pt x="2293475" y="3297385"/>
                  <a:pt x="2284902" y="3291669"/>
                  <a:pt x="2276328" y="3287382"/>
                </a:cubicBezTo>
                <a:cubicBezTo>
                  <a:pt x="2004826" y="3137335"/>
                  <a:pt x="1663306" y="3127332"/>
                  <a:pt x="1376085" y="3293098"/>
                </a:cubicBezTo>
                <a:cubicBezTo>
                  <a:pt x="1374656" y="3294527"/>
                  <a:pt x="1374656" y="3294527"/>
                  <a:pt x="1373227" y="3294527"/>
                </a:cubicBezTo>
                <a:cubicBezTo>
                  <a:pt x="1357509" y="3304530"/>
                  <a:pt x="1341790" y="3311675"/>
                  <a:pt x="1326072" y="3320249"/>
                </a:cubicBezTo>
                <a:cubicBezTo>
                  <a:pt x="1318927" y="3324536"/>
                  <a:pt x="1311782" y="3327394"/>
                  <a:pt x="1304638" y="3330252"/>
                </a:cubicBezTo>
                <a:cubicBezTo>
                  <a:pt x="1297493" y="3334539"/>
                  <a:pt x="1291777" y="3337398"/>
                  <a:pt x="1283203" y="3340256"/>
                </a:cubicBezTo>
                <a:cubicBezTo>
                  <a:pt x="1277487" y="3343114"/>
                  <a:pt x="1270343" y="3345972"/>
                  <a:pt x="1263198" y="3348830"/>
                </a:cubicBezTo>
                <a:cubicBezTo>
                  <a:pt x="1256053" y="3351688"/>
                  <a:pt x="1248908" y="3354546"/>
                  <a:pt x="1241763" y="3357404"/>
                </a:cubicBezTo>
                <a:cubicBezTo>
                  <a:pt x="1234619" y="3360262"/>
                  <a:pt x="1227474" y="3363120"/>
                  <a:pt x="1220329" y="3365978"/>
                </a:cubicBezTo>
                <a:cubicBezTo>
                  <a:pt x="1213184" y="3367407"/>
                  <a:pt x="1206040" y="3370265"/>
                  <a:pt x="1198895" y="3373123"/>
                </a:cubicBezTo>
                <a:cubicBezTo>
                  <a:pt x="1087436" y="3408849"/>
                  <a:pt x="971691" y="3423139"/>
                  <a:pt x="857374" y="3415994"/>
                </a:cubicBezTo>
                <a:cubicBezTo>
                  <a:pt x="850229" y="3414565"/>
                  <a:pt x="843085" y="3414565"/>
                  <a:pt x="834511" y="3414565"/>
                </a:cubicBezTo>
                <a:cubicBezTo>
                  <a:pt x="828795" y="3413136"/>
                  <a:pt x="821650" y="3413136"/>
                  <a:pt x="814505" y="3411707"/>
                </a:cubicBezTo>
                <a:cubicBezTo>
                  <a:pt x="814505" y="3411707"/>
                  <a:pt x="813076" y="3411707"/>
                  <a:pt x="813076" y="3411707"/>
                </a:cubicBezTo>
                <a:cubicBezTo>
                  <a:pt x="805932" y="3410278"/>
                  <a:pt x="800216" y="3410278"/>
                  <a:pt x="793071" y="3408849"/>
                </a:cubicBezTo>
                <a:cubicBezTo>
                  <a:pt x="793071" y="3408849"/>
                  <a:pt x="793071" y="3408849"/>
                  <a:pt x="791642" y="3408849"/>
                </a:cubicBezTo>
                <a:cubicBezTo>
                  <a:pt x="787355" y="3408849"/>
                  <a:pt x="783068" y="3407419"/>
                  <a:pt x="778782" y="3407419"/>
                </a:cubicBezTo>
                <a:cubicBezTo>
                  <a:pt x="778782" y="3407419"/>
                  <a:pt x="778782" y="3407419"/>
                  <a:pt x="777353" y="3407419"/>
                </a:cubicBezTo>
                <a:cubicBezTo>
                  <a:pt x="775924" y="3407419"/>
                  <a:pt x="774495" y="3405990"/>
                  <a:pt x="771637" y="3405990"/>
                </a:cubicBezTo>
                <a:cubicBezTo>
                  <a:pt x="771637" y="3405990"/>
                  <a:pt x="770208" y="3405990"/>
                  <a:pt x="768779" y="3405990"/>
                </a:cubicBezTo>
                <a:cubicBezTo>
                  <a:pt x="765921" y="3404561"/>
                  <a:pt x="763063" y="3404561"/>
                  <a:pt x="760205" y="3404561"/>
                </a:cubicBezTo>
                <a:cubicBezTo>
                  <a:pt x="758776" y="3404561"/>
                  <a:pt x="757347" y="3403132"/>
                  <a:pt x="755918" y="3403132"/>
                </a:cubicBezTo>
                <a:cubicBezTo>
                  <a:pt x="754489" y="3403132"/>
                  <a:pt x="753060" y="3403132"/>
                  <a:pt x="751631" y="3403132"/>
                </a:cubicBezTo>
                <a:cubicBezTo>
                  <a:pt x="748774" y="3401703"/>
                  <a:pt x="747344" y="3401703"/>
                  <a:pt x="745915" y="3401703"/>
                </a:cubicBezTo>
                <a:cubicBezTo>
                  <a:pt x="744487" y="3401703"/>
                  <a:pt x="741629" y="3400274"/>
                  <a:pt x="740200" y="3400274"/>
                </a:cubicBezTo>
                <a:cubicBezTo>
                  <a:pt x="738771" y="3400274"/>
                  <a:pt x="735913" y="3400274"/>
                  <a:pt x="734484" y="3398845"/>
                </a:cubicBezTo>
                <a:cubicBezTo>
                  <a:pt x="733055" y="3398845"/>
                  <a:pt x="731626" y="3398845"/>
                  <a:pt x="730197" y="3398845"/>
                </a:cubicBezTo>
                <a:cubicBezTo>
                  <a:pt x="727339" y="3397416"/>
                  <a:pt x="725910" y="3397416"/>
                  <a:pt x="724481" y="3397416"/>
                </a:cubicBezTo>
                <a:cubicBezTo>
                  <a:pt x="723052" y="3397416"/>
                  <a:pt x="721623" y="3395987"/>
                  <a:pt x="720194" y="3395987"/>
                </a:cubicBezTo>
                <a:cubicBezTo>
                  <a:pt x="717336" y="3395987"/>
                  <a:pt x="714478" y="3394558"/>
                  <a:pt x="711621" y="3394558"/>
                </a:cubicBezTo>
                <a:cubicBezTo>
                  <a:pt x="711621" y="3394558"/>
                  <a:pt x="710192" y="3394558"/>
                  <a:pt x="708763" y="3393129"/>
                </a:cubicBezTo>
                <a:cubicBezTo>
                  <a:pt x="705905" y="3393129"/>
                  <a:pt x="704476" y="3393129"/>
                  <a:pt x="701618" y="3391700"/>
                </a:cubicBezTo>
                <a:cubicBezTo>
                  <a:pt x="700189" y="3391700"/>
                  <a:pt x="700189" y="3391700"/>
                  <a:pt x="700189" y="3391700"/>
                </a:cubicBezTo>
                <a:cubicBezTo>
                  <a:pt x="695902" y="3390271"/>
                  <a:pt x="693044" y="3390271"/>
                  <a:pt x="690186" y="3388842"/>
                </a:cubicBezTo>
                <a:cubicBezTo>
                  <a:pt x="690186" y="3388842"/>
                  <a:pt x="688757" y="3388842"/>
                  <a:pt x="688757" y="3388842"/>
                </a:cubicBezTo>
                <a:cubicBezTo>
                  <a:pt x="681612" y="3387413"/>
                  <a:pt x="675897" y="3385984"/>
                  <a:pt x="668752" y="3383126"/>
                </a:cubicBezTo>
                <a:cubicBezTo>
                  <a:pt x="668752" y="3383126"/>
                  <a:pt x="667323" y="3383126"/>
                  <a:pt x="667323" y="3383126"/>
                </a:cubicBezTo>
                <a:cubicBezTo>
                  <a:pt x="660178" y="3381697"/>
                  <a:pt x="654462" y="3378839"/>
                  <a:pt x="647317" y="3377410"/>
                </a:cubicBezTo>
                <a:cubicBezTo>
                  <a:pt x="585872" y="3358833"/>
                  <a:pt x="525856" y="3333110"/>
                  <a:pt x="470127" y="3301672"/>
                </a:cubicBezTo>
                <a:cubicBezTo>
                  <a:pt x="470127" y="3301672"/>
                  <a:pt x="470127" y="3301672"/>
                  <a:pt x="468698" y="3301672"/>
                </a:cubicBezTo>
                <a:cubicBezTo>
                  <a:pt x="457266" y="3294527"/>
                  <a:pt x="445835" y="3287382"/>
                  <a:pt x="432974" y="3280237"/>
                </a:cubicBezTo>
                <a:cubicBezTo>
                  <a:pt x="432974" y="3280237"/>
                  <a:pt x="432974" y="3280237"/>
                  <a:pt x="431545" y="3278808"/>
                </a:cubicBezTo>
                <a:cubicBezTo>
                  <a:pt x="430116" y="3277379"/>
                  <a:pt x="427258" y="3275950"/>
                  <a:pt x="424400" y="3274521"/>
                </a:cubicBezTo>
                <a:cubicBezTo>
                  <a:pt x="422972" y="3273092"/>
                  <a:pt x="421542" y="3273092"/>
                  <a:pt x="418684" y="3271663"/>
                </a:cubicBezTo>
                <a:cubicBezTo>
                  <a:pt x="418684" y="3270234"/>
                  <a:pt x="417255" y="3270234"/>
                  <a:pt x="417255" y="3270234"/>
                </a:cubicBezTo>
                <a:cubicBezTo>
                  <a:pt x="298652" y="3193067"/>
                  <a:pt x="197196" y="3088748"/>
                  <a:pt x="122891" y="2960136"/>
                </a:cubicBezTo>
                <a:cubicBezTo>
                  <a:pt x="42869" y="2820092"/>
                  <a:pt x="2858" y="2668616"/>
                  <a:pt x="0" y="2517140"/>
                </a:cubicBezTo>
                <a:cubicBezTo>
                  <a:pt x="0" y="2508566"/>
                  <a:pt x="0" y="2498563"/>
                  <a:pt x="0" y="2488560"/>
                </a:cubicBezTo>
                <a:cubicBezTo>
                  <a:pt x="0" y="2488560"/>
                  <a:pt x="0" y="2487131"/>
                  <a:pt x="0" y="2487131"/>
                </a:cubicBezTo>
                <a:cubicBezTo>
                  <a:pt x="2858" y="2325651"/>
                  <a:pt x="48585" y="2167030"/>
                  <a:pt x="131464" y="2028415"/>
                </a:cubicBezTo>
                <a:cubicBezTo>
                  <a:pt x="577299" y="1255316"/>
                  <a:pt x="583014" y="1245313"/>
                  <a:pt x="1030278" y="470784"/>
                </a:cubicBezTo>
                <a:cubicBezTo>
                  <a:pt x="1031707" y="470784"/>
                  <a:pt x="1031707" y="469355"/>
                  <a:pt x="1033136" y="467926"/>
                </a:cubicBezTo>
                <a:cubicBezTo>
                  <a:pt x="1033136" y="466497"/>
                  <a:pt x="1034565" y="465068"/>
                  <a:pt x="1034565" y="465068"/>
                </a:cubicBezTo>
                <a:cubicBezTo>
                  <a:pt x="1035994" y="462210"/>
                  <a:pt x="1037423" y="459352"/>
                  <a:pt x="1038852" y="456494"/>
                </a:cubicBezTo>
                <a:cubicBezTo>
                  <a:pt x="1038852" y="456494"/>
                  <a:pt x="1040281" y="455065"/>
                  <a:pt x="1040281" y="453635"/>
                </a:cubicBezTo>
                <a:cubicBezTo>
                  <a:pt x="1041709" y="452206"/>
                  <a:pt x="1043138" y="450777"/>
                  <a:pt x="1043138" y="447919"/>
                </a:cubicBezTo>
                <a:cubicBezTo>
                  <a:pt x="1044567" y="447919"/>
                  <a:pt x="1044567" y="446490"/>
                  <a:pt x="1045996" y="445061"/>
                </a:cubicBezTo>
                <a:cubicBezTo>
                  <a:pt x="1047425" y="443632"/>
                  <a:pt x="1048854" y="440774"/>
                  <a:pt x="1050283" y="437916"/>
                </a:cubicBezTo>
                <a:cubicBezTo>
                  <a:pt x="1050283" y="436487"/>
                  <a:pt x="1051712" y="436487"/>
                  <a:pt x="1051712" y="435058"/>
                </a:cubicBezTo>
                <a:cubicBezTo>
                  <a:pt x="1053141" y="433629"/>
                  <a:pt x="1054570" y="430771"/>
                  <a:pt x="1054570" y="429342"/>
                </a:cubicBezTo>
                <a:cubicBezTo>
                  <a:pt x="1055999" y="427913"/>
                  <a:pt x="1055999" y="427913"/>
                  <a:pt x="1057428" y="426484"/>
                </a:cubicBezTo>
                <a:cubicBezTo>
                  <a:pt x="1058857" y="423626"/>
                  <a:pt x="1060286" y="422197"/>
                  <a:pt x="1061715" y="419339"/>
                </a:cubicBezTo>
                <a:cubicBezTo>
                  <a:pt x="1061715" y="417910"/>
                  <a:pt x="1063144" y="417910"/>
                  <a:pt x="1063144" y="416481"/>
                </a:cubicBezTo>
                <a:cubicBezTo>
                  <a:pt x="1064573" y="413623"/>
                  <a:pt x="1066002" y="412194"/>
                  <a:pt x="1067431" y="410765"/>
                </a:cubicBezTo>
                <a:cubicBezTo>
                  <a:pt x="1067431" y="409336"/>
                  <a:pt x="1068860" y="409336"/>
                  <a:pt x="1068860" y="407907"/>
                </a:cubicBezTo>
                <a:cubicBezTo>
                  <a:pt x="1070289" y="405049"/>
                  <a:pt x="1071718" y="403620"/>
                  <a:pt x="1074576" y="400762"/>
                </a:cubicBezTo>
                <a:cubicBezTo>
                  <a:pt x="1074576" y="399333"/>
                  <a:pt x="1074576" y="399333"/>
                  <a:pt x="1076004" y="397904"/>
                </a:cubicBezTo>
                <a:cubicBezTo>
                  <a:pt x="1077433" y="396475"/>
                  <a:pt x="1078863" y="393617"/>
                  <a:pt x="1080291" y="392188"/>
                </a:cubicBezTo>
                <a:cubicBezTo>
                  <a:pt x="1080291" y="390759"/>
                  <a:pt x="1081720" y="390759"/>
                  <a:pt x="1081720" y="389330"/>
                </a:cubicBezTo>
                <a:cubicBezTo>
                  <a:pt x="1083149" y="387901"/>
                  <a:pt x="1084578" y="385043"/>
                  <a:pt x="1087436" y="382185"/>
                </a:cubicBezTo>
                <a:cubicBezTo>
                  <a:pt x="1087436" y="382185"/>
                  <a:pt x="1087436" y="380755"/>
                  <a:pt x="1088865" y="379326"/>
                </a:cubicBezTo>
                <a:cubicBezTo>
                  <a:pt x="1090294" y="377897"/>
                  <a:pt x="1091723" y="375039"/>
                  <a:pt x="1093152" y="373610"/>
                </a:cubicBezTo>
                <a:cubicBezTo>
                  <a:pt x="1094581" y="372181"/>
                  <a:pt x="1094581" y="372181"/>
                  <a:pt x="1094581" y="372181"/>
                </a:cubicBezTo>
                <a:cubicBezTo>
                  <a:pt x="1096010" y="369323"/>
                  <a:pt x="1098868" y="366465"/>
                  <a:pt x="1100297" y="365036"/>
                </a:cubicBezTo>
                <a:cubicBezTo>
                  <a:pt x="1100297" y="363607"/>
                  <a:pt x="1101726" y="363607"/>
                  <a:pt x="1101726" y="362178"/>
                </a:cubicBezTo>
                <a:cubicBezTo>
                  <a:pt x="1103155" y="359320"/>
                  <a:pt x="1106013" y="356462"/>
                  <a:pt x="1107442" y="353604"/>
                </a:cubicBezTo>
                <a:cubicBezTo>
                  <a:pt x="1110299" y="352175"/>
                  <a:pt x="1111728" y="349317"/>
                  <a:pt x="1113157" y="346459"/>
                </a:cubicBezTo>
                <a:cubicBezTo>
                  <a:pt x="1114586" y="346459"/>
                  <a:pt x="1114586" y="345030"/>
                  <a:pt x="1114586" y="345030"/>
                </a:cubicBezTo>
                <a:cubicBezTo>
                  <a:pt x="1118873" y="339314"/>
                  <a:pt x="1123160" y="333598"/>
                  <a:pt x="1127447" y="329311"/>
                </a:cubicBezTo>
                <a:cubicBezTo>
                  <a:pt x="1128876" y="329311"/>
                  <a:pt x="1128876" y="327882"/>
                  <a:pt x="1128876" y="327882"/>
                </a:cubicBezTo>
                <a:cubicBezTo>
                  <a:pt x="1133163" y="322166"/>
                  <a:pt x="1137450" y="316450"/>
                  <a:pt x="1143165" y="312163"/>
                </a:cubicBezTo>
                <a:cubicBezTo>
                  <a:pt x="1143165" y="312163"/>
                  <a:pt x="1143165" y="310734"/>
                  <a:pt x="1143165" y="310734"/>
                </a:cubicBezTo>
                <a:cubicBezTo>
                  <a:pt x="1148881" y="305017"/>
                  <a:pt x="1153168" y="300730"/>
                  <a:pt x="1157455" y="295014"/>
                </a:cubicBezTo>
                <a:cubicBezTo>
                  <a:pt x="1157455" y="295014"/>
                  <a:pt x="1158884" y="295014"/>
                  <a:pt x="1158884" y="293585"/>
                </a:cubicBezTo>
                <a:cubicBezTo>
                  <a:pt x="1163171" y="289298"/>
                  <a:pt x="1168887" y="283582"/>
                  <a:pt x="1173174" y="277866"/>
                </a:cubicBezTo>
                <a:cubicBezTo>
                  <a:pt x="1231761" y="219276"/>
                  <a:pt x="1298922" y="166403"/>
                  <a:pt x="1373227" y="122103"/>
                </a:cubicBezTo>
                <a:cubicBezTo>
                  <a:pt x="1427528" y="90664"/>
                  <a:pt x="1484686" y="66371"/>
                  <a:pt x="1543273" y="46365"/>
                </a:cubicBezTo>
                <a:cubicBezTo>
                  <a:pt x="1546131" y="44936"/>
                  <a:pt x="1548989" y="44936"/>
                  <a:pt x="1553276" y="43507"/>
                </a:cubicBezTo>
                <a:cubicBezTo>
                  <a:pt x="1557563" y="42078"/>
                  <a:pt x="1560421" y="40649"/>
                  <a:pt x="1563279" y="39220"/>
                </a:cubicBezTo>
                <a:cubicBezTo>
                  <a:pt x="1564708" y="39220"/>
                  <a:pt x="1564708" y="39220"/>
                  <a:pt x="1564708" y="39220"/>
                </a:cubicBezTo>
                <a:cubicBezTo>
                  <a:pt x="1567566" y="39220"/>
                  <a:pt x="1571852" y="37791"/>
                  <a:pt x="1574710" y="36362"/>
                </a:cubicBezTo>
                <a:cubicBezTo>
                  <a:pt x="1574710" y="36362"/>
                  <a:pt x="1574710" y="36362"/>
                  <a:pt x="1576139" y="36362"/>
                </a:cubicBezTo>
                <a:cubicBezTo>
                  <a:pt x="1578997" y="34933"/>
                  <a:pt x="1581855" y="34933"/>
                  <a:pt x="1584713" y="33504"/>
                </a:cubicBezTo>
                <a:cubicBezTo>
                  <a:pt x="1586142" y="33504"/>
                  <a:pt x="1586142" y="33504"/>
                  <a:pt x="1587571" y="33504"/>
                </a:cubicBezTo>
                <a:cubicBezTo>
                  <a:pt x="1590429" y="32075"/>
                  <a:pt x="1593287" y="32075"/>
                  <a:pt x="1596145" y="30646"/>
                </a:cubicBezTo>
                <a:cubicBezTo>
                  <a:pt x="1596145" y="30646"/>
                  <a:pt x="1597574" y="30646"/>
                  <a:pt x="1597574" y="30646"/>
                </a:cubicBezTo>
                <a:cubicBezTo>
                  <a:pt x="1600432" y="29217"/>
                  <a:pt x="1603289" y="29217"/>
                  <a:pt x="1607576" y="27788"/>
                </a:cubicBezTo>
                <a:cubicBezTo>
                  <a:pt x="1607576" y="27788"/>
                  <a:pt x="1609005" y="27788"/>
                  <a:pt x="1609005" y="27788"/>
                </a:cubicBezTo>
                <a:cubicBezTo>
                  <a:pt x="1611863" y="26359"/>
                  <a:pt x="1614721" y="26359"/>
                  <a:pt x="1617579" y="24930"/>
                </a:cubicBezTo>
                <a:cubicBezTo>
                  <a:pt x="1617579" y="24930"/>
                  <a:pt x="1619008" y="24930"/>
                  <a:pt x="1619008" y="24930"/>
                </a:cubicBezTo>
                <a:cubicBezTo>
                  <a:pt x="1621866" y="23501"/>
                  <a:pt x="1624724" y="23501"/>
                  <a:pt x="1629011" y="22072"/>
                </a:cubicBezTo>
                <a:cubicBezTo>
                  <a:pt x="1629011" y="22072"/>
                  <a:pt x="1630440" y="22072"/>
                  <a:pt x="1631869" y="22072"/>
                </a:cubicBezTo>
                <a:cubicBezTo>
                  <a:pt x="1633298" y="22072"/>
                  <a:pt x="1634727" y="20643"/>
                  <a:pt x="1636155" y="20643"/>
                </a:cubicBezTo>
                <a:cubicBezTo>
                  <a:pt x="1636155" y="20643"/>
                  <a:pt x="1637584" y="20643"/>
                  <a:pt x="1639013" y="20643"/>
                </a:cubicBezTo>
                <a:cubicBezTo>
                  <a:pt x="1639013" y="20643"/>
                  <a:pt x="1640442" y="19213"/>
                  <a:pt x="1641871" y="19213"/>
                </a:cubicBezTo>
                <a:cubicBezTo>
                  <a:pt x="1641871" y="19213"/>
                  <a:pt x="1641871" y="19213"/>
                  <a:pt x="1643300" y="19213"/>
                </a:cubicBezTo>
                <a:cubicBezTo>
                  <a:pt x="1644729" y="19213"/>
                  <a:pt x="1647587" y="17784"/>
                  <a:pt x="1650445" y="17784"/>
                </a:cubicBezTo>
                <a:cubicBezTo>
                  <a:pt x="1651874" y="17784"/>
                  <a:pt x="1653303" y="17784"/>
                  <a:pt x="1654732" y="17784"/>
                </a:cubicBezTo>
                <a:cubicBezTo>
                  <a:pt x="1654732" y="16355"/>
                  <a:pt x="1656161" y="16355"/>
                  <a:pt x="1657590" y="16355"/>
                </a:cubicBezTo>
                <a:cubicBezTo>
                  <a:pt x="1657590" y="16355"/>
                  <a:pt x="1659019" y="16355"/>
                  <a:pt x="1660448" y="16355"/>
                </a:cubicBezTo>
                <a:cubicBezTo>
                  <a:pt x="1661877" y="16355"/>
                  <a:pt x="1663306" y="14926"/>
                  <a:pt x="1664735" y="14926"/>
                </a:cubicBezTo>
                <a:cubicBezTo>
                  <a:pt x="1666164" y="14926"/>
                  <a:pt x="1666164" y="14926"/>
                  <a:pt x="1666164" y="14926"/>
                </a:cubicBezTo>
                <a:cubicBezTo>
                  <a:pt x="1669021" y="14926"/>
                  <a:pt x="1670450" y="13497"/>
                  <a:pt x="1671879" y="13497"/>
                </a:cubicBezTo>
                <a:cubicBezTo>
                  <a:pt x="1673308" y="13497"/>
                  <a:pt x="1674737" y="13497"/>
                  <a:pt x="1676166" y="13497"/>
                </a:cubicBezTo>
                <a:cubicBezTo>
                  <a:pt x="1677595" y="13497"/>
                  <a:pt x="1679024" y="12068"/>
                  <a:pt x="1679024" y="12068"/>
                </a:cubicBezTo>
                <a:cubicBezTo>
                  <a:pt x="1680453" y="12068"/>
                  <a:pt x="1680453" y="12068"/>
                  <a:pt x="1681882" y="12068"/>
                </a:cubicBezTo>
                <a:cubicBezTo>
                  <a:pt x="1683311" y="12068"/>
                  <a:pt x="1686169" y="12068"/>
                  <a:pt x="1687598" y="10639"/>
                </a:cubicBezTo>
                <a:cubicBezTo>
                  <a:pt x="1687598" y="10639"/>
                  <a:pt x="1689027" y="10639"/>
                  <a:pt x="1689027" y="10639"/>
                </a:cubicBezTo>
                <a:cubicBezTo>
                  <a:pt x="1690456" y="10639"/>
                  <a:pt x="1691885" y="10639"/>
                  <a:pt x="1693314" y="10639"/>
                </a:cubicBezTo>
                <a:cubicBezTo>
                  <a:pt x="1694743" y="10639"/>
                  <a:pt x="1697601" y="9210"/>
                  <a:pt x="1699030" y="9210"/>
                </a:cubicBezTo>
                <a:cubicBezTo>
                  <a:pt x="1700459" y="9210"/>
                  <a:pt x="1700459" y="9210"/>
                  <a:pt x="1701887" y="9210"/>
                </a:cubicBezTo>
                <a:cubicBezTo>
                  <a:pt x="1701887" y="9210"/>
                  <a:pt x="1703316" y="9210"/>
                  <a:pt x="1703316" y="9210"/>
                </a:cubicBezTo>
                <a:cubicBezTo>
                  <a:pt x="1706174" y="9210"/>
                  <a:pt x="1707603" y="7781"/>
                  <a:pt x="1710461" y="7781"/>
                </a:cubicBezTo>
                <a:cubicBezTo>
                  <a:pt x="1710461" y="7781"/>
                  <a:pt x="1711890" y="7781"/>
                  <a:pt x="1711890" y="7781"/>
                </a:cubicBezTo>
                <a:cubicBezTo>
                  <a:pt x="1711890" y="7781"/>
                  <a:pt x="1711890" y="7781"/>
                  <a:pt x="1713319" y="7781"/>
                </a:cubicBezTo>
                <a:cubicBezTo>
                  <a:pt x="1713319" y="7781"/>
                  <a:pt x="1714748" y="7781"/>
                  <a:pt x="1714748" y="7781"/>
                </a:cubicBezTo>
                <a:cubicBezTo>
                  <a:pt x="1717606" y="6352"/>
                  <a:pt x="1719035" y="6352"/>
                  <a:pt x="1721893" y="6352"/>
                </a:cubicBezTo>
                <a:cubicBezTo>
                  <a:pt x="1721893" y="6352"/>
                  <a:pt x="1721893" y="6352"/>
                  <a:pt x="1723322" y="6352"/>
                </a:cubicBezTo>
                <a:cubicBezTo>
                  <a:pt x="1723322" y="6352"/>
                  <a:pt x="1724751" y="6352"/>
                  <a:pt x="1724751" y="6352"/>
                </a:cubicBezTo>
                <a:cubicBezTo>
                  <a:pt x="1724751" y="6352"/>
                  <a:pt x="1724751" y="6352"/>
                  <a:pt x="1726180" y="6352"/>
                </a:cubicBezTo>
                <a:cubicBezTo>
                  <a:pt x="1727609" y="6352"/>
                  <a:pt x="1730467" y="4923"/>
                  <a:pt x="1733325" y="4923"/>
                </a:cubicBezTo>
                <a:cubicBezTo>
                  <a:pt x="1733325" y="4923"/>
                  <a:pt x="1733325" y="4923"/>
                  <a:pt x="1734753" y="4923"/>
                </a:cubicBezTo>
                <a:cubicBezTo>
                  <a:pt x="1734753" y="4923"/>
                  <a:pt x="1734753" y="4923"/>
                  <a:pt x="1736182" y="4923"/>
                </a:cubicBezTo>
                <a:cubicBezTo>
                  <a:pt x="1739040" y="4923"/>
                  <a:pt x="1741898" y="4923"/>
                  <a:pt x="1744756" y="3494"/>
                </a:cubicBezTo>
                <a:cubicBezTo>
                  <a:pt x="1747614" y="3494"/>
                  <a:pt x="1751901" y="3494"/>
                  <a:pt x="1756188" y="3494"/>
                </a:cubicBezTo>
                <a:cubicBezTo>
                  <a:pt x="1757617" y="3494"/>
                  <a:pt x="1757617" y="3494"/>
                  <a:pt x="1759046" y="3494"/>
                </a:cubicBezTo>
                <a:cubicBezTo>
                  <a:pt x="1764762" y="2065"/>
                  <a:pt x="1771906" y="2065"/>
                  <a:pt x="1779051" y="2065"/>
                </a:cubicBezTo>
                <a:cubicBezTo>
                  <a:pt x="1786196" y="636"/>
                  <a:pt x="1793341" y="636"/>
                  <a:pt x="1801914" y="636"/>
                </a:cubicBezTo>
                <a:close/>
              </a:path>
            </a:pathLst>
          </a:custGeom>
        </p:spPr>
        <p:txBody>
          <a:bodyPr wrap="square" tIns="19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B6BD396-A9EF-4F5D-5D74-70405F6299B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622025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570547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yellow and orange wave&#10;&#10;Description automatically generated with medium confidence">
            <a:extLst>
              <a:ext uri="{FF2B5EF4-FFF2-40B4-BE49-F238E27FC236}">
                <a16:creationId xmlns:a16="http://schemas.microsoft.com/office/drawing/2014/main" id="{C125A928-702B-F863-2447-9BBC0DB485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7877" y="2479031"/>
            <a:ext cx="4674124" cy="4379994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219B4C3-ECD6-8B72-6D18-DB4040D28FD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41024" y="0"/>
            <a:ext cx="5350976" cy="5712643"/>
          </a:xfrm>
          <a:custGeom>
            <a:avLst/>
            <a:gdLst>
              <a:gd name="connsiteX0" fmla="*/ 2441813 w 5182014"/>
              <a:gd name="connsiteY0" fmla="*/ 0 h 5532261"/>
              <a:gd name="connsiteX1" fmla="*/ 5182014 w 5182014"/>
              <a:gd name="connsiteY1" fmla="*/ 0 h 5532261"/>
              <a:gd name="connsiteX2" fmla="*/ 5182014 w 5182014"/>
              <a:gd name="connsiteY2" fmla="*/ 2429538 h 5532261"/>
              <a:gd name="connsiteX3" fmla="*/ 4889685 w 5182014"/>
              <a:gd name="connsiteY3" fmla="*/ 2509548 h 5532261"/>
              <a:gd name="connsiteX4" fmla="*/ 4835835 w 5182014"/>
              <a:gd name="connsiteY4" fmla="*/ 2531089 h 5532261"/>
              <a:gd name="connsiteX5" fmla="*/ 3694213 w 5182014"/>
              <a:gd name="connsiteY5" fmla="*/ 3965116 h 5532261"/>
              <a:gd name="connsiteX6" fmla="*/ 2552590 w 5182014"/>
              <a:gd name="connsiteY6" fmla="*/ 5397605 h 5532261"/>
              <a:gd name="connsiteX7" fmla="*/ 2497202 w 5182014"/>
              <a:gd name="connsiteY7" fmla="*/ 5419146 h 5532261"/>
              <a:gd name="connsiteX8" fmla="*/ 1567903 w 5182014"/>
              <a:gd name="connsiteY8" fmla="*/ 5508388 h 5532261"/>
              <a:gd name="connsiteX9" fmla="*/ 712455 w 5182014"/>
              <a:gd name="connsiteY9" fmla="*/ 5136033 h 5532261"/>
              <a:gd name="connsiteX10" fmla="*/ 666298 w 5182014"/>
              <a:gd name="connsiteY10" fmla="*/ 5099106 h 5532261"/>
              <a:gd name="connsiteX11" fmla="*/ 23174 w 5182014"/>
              <a:gd name="connsiteY11" fmla="*/ 3383504 h 5532261"/>
              <a:gd name="connsiteX12" fmla="*/ 413972 w 5182014"/>
              <a:gd name="connsiteY12" fmla="*/ 2504932 h 5532261"/>
              <a:gd name="connsiteX13" fmla="*/ 430896 w 5182014"/>
              <a:gd name="connsiteY13" fmla="*/ 2484929 h 5532261"/>
              <a:gd name="connsiteX14" fmla="*/ 440127 w 5182014"/>
              <a:gd name="connsiteY14" fmla="*/ 2474159 h 5532261"/>
              <a:gd name="connsiteX15" fmla="*/ 787845 w 5182014"/>
              <a:gd name="connsiteY15" fmla="*/ 2044874 h 5532261"/>
              <a:gd name="connsiteX16" fmla="*/ 2380270 w 5182014"/>
              <a:gd name="connsiteY16" fmla="*/ 76933 h 5532261"/>
              <a:gd name="connsiteX17" fmla="*/ 2441813 w 5182014"/>
              <a:gd name="connsiteY17" fmla="*/ 0 h 5532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182014" h="5532261">
                <a:moveTo>
                  <a:pt x="2441813" y="0"/>
                </a:moveTo>
                <a:cubicBezTo>
                  <a:pt x="2441813" y="0"/>
                  <a:pt x="2441813" y="0"/>
                  <a:pt x="5182014" y="0"/>
                </a:cubicBezTo>
                <a:cubicBezTo>
                  <a:pt x="5182014" y="0"/>
                  <a:pt x="5182014" y="0"/>
                  <a:pt x="5182014" y="2429538"/>
                </a:cubicBezTo>
                <a:cubicBezTo>
                  <a:pt x="5082007" y="2448001"/>
                  <a:pt x="4985077" y="2475697"/>
                  <a:pt x="4889685" y="2509548"/>
                </a:cubicBezTo>
                <a:cubicBezTo>
                  <a:pt x="4871222" y="2517241"/>
                  <a:pt x="4852759" y="2523396"/>
                  <a:pt x="4835835" y="2531089"/>
                </a:cubicBezTo>
                <a:cubicBezTo>
                  <a:pt x="4249638" y="2766503"/>
                  <a:pt x="3798836" y="3295801"/>
                  <a:pt x="3694213" y="3965116"/>
                </a:cubicBezTo>
                <a:cubicBezTo>
                  <a:pt x="3588051" y="4632893"/>
                  <a:pt x="3137249" y="5162190"/>
                  <a:pt x="2552590" y="5397605"/>
                </a:cubicBezTo>
                <a:cubicBezTo>
                  <a:pt x="2532589" y="5403759"/>
                  <a:pt x="2514126" y="5411453"/>
                  <a:pt x="2497202" y="5419146"/>
                </a:cubicBezTo>
                <a:cubicBezTo>
                  <a:pt x="2209488" y="5525313"/>
                  <a:pt x="1891003" y="5560702"/>
                  <a:pt x="1567903" y="5508388"/>
                </a:cubicBezTo>
                <a:cubicBezTo>
                  <a:pt x="1244802" y="5457612"/>
                  <a:pt x="952473" y="5325288"/>
                  <a:pt x="712455" y="5136033"/>
                </a:cubicBezTo>
                <a:cubicBezTo>
                  <a:pt x="697069" y="5123724"/>
                  <a:pt x="681684" y="5111415"/>
                  <a:pt x="666298" y="5099106"/>
                </a:cubicBezTo>
                <a:cubicBezTo>
                  <a:pt x="183186" y="4694439"/>
                  <a:pt x="-82988" y="4051281"/>
                  <a:pt x="23174" y="3383504"/>
                </a:cubicBezTo>
                <a:cubicBezTo>
                  <a:pt x="77024" y="3048077"/>
                  <a:pt x="215496" y="2749578"/>
                  <a:pt x="413972" y="2504932"/>
                </a:cubicBezTo>
                <a:cubicBezTo>
                  <a:pt x="420126" y="2498777"/>
                  <a:pt x="424742" y="2491084"/>
                  <a:pt x="430896" y="2484929"/>
                </a:cubicBezTo>
                <a:cubicBezTo>
                  <a:pt x="433973" y="2480313"/>
                  <a:pt x="437050" y="2477236"/>
                  <a:pt x="440127" y="2474159"/>
                </a:cubicBezTo>
                <a:cubicBezTo>
                  <a:pt x="569368" y="2314138"/>
                  <a:pt x="683222" y="2172582"/>
                  <a:pt x="787845" y="2044874"/>
                </a:cubicBezTo>
                <a:cubicBezTo>
                  <a:pt x="1490974" y="1175533"/>
                  <a:pt x="1677141" y="944735"/>
                  <a:pt x="2380270" y="76933"/>
                </a:cubicBezTo>
                <a:cubicBezTo>
                  <a:pt x="2400271" y="52314"/>
                  <a:pt x="2421811" y="26157"/>
                  <a:pt x="2441813" y="0"/>
                </a:cubicBezTo>
                <a:close/>
              </a:path>
            </a:pathLst>
          </a:custGeom>
        </p:spPr>
        <p:txBody>
          <a:bodyPr wrap="square" tIns="2232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8232FB1-F3D9-9063-6297-166EBA25264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6285098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Image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320667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 descr="A yellow and pink gradient&#10;&#10;Description automatically generated">
            <a:extLst>
              <a:ext uri="{FF2B5EF4-FFF2-40B4-BE49-F238E27FC236}">
                <a16:creationId xmlns:a16="http://schemas.microsoft.com/office/drawing/2014/main" id="{42CDA96A-9BD0-0CE9-B6BA-1C92DC5B86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161" y="3208054"/>
            <a:ext cx="3905839" cy="3650972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1EF5172-2DF4-5C2C-6504-29D22487319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36311" y="0"/>
            <a:ext cx="6965115" cy="5439266"/>
          </a:xfrm>
          <a:custGeom>
            <a:avLst/>
            <a:gdLst>
              <a:gd name="connsiteX0" fmla="*/ 453997 w 6042287"/>
              <a:gd name="connsiteY0" fmla="*/ 0 h 4718602"/>
              <a:gd name="connsiteX1" fmla="*/ 6042287 w 6042287"/>
              <a:gd name="connsiteY1" fmla="*/ 0 h 4718602"/>
              <a:gd name="connsiteX2" fmla="*/ 6040911 w 6042287"/>
              <a:gd name="connsiteY2" fmla="*/ 2791979 h 4718602"/>
              <a:gd name="connsiteX3" fmla="*/ 5183820 w 6042287"/>
              <a:gd name="connsiteY3" fmla="*/ 4276722 h 4718602"/>
              <a:gd name="connsiteX4" fmla="*/ 4871525 w 6042287"/>
              <a:gd name="connsiteY4" fmla="*/ 4593211 h 4718602"/>
              <a:gd name="connsiteX5" fmla="*/ 4848138 w 6042287"/>
              <a:gd name="connsiteY5" fmla="*/ 4606971 h 4718602"/>
              <a:gd name="connsiteX6" fmla="*/ 3975913 w 6042287"/>
              <a:gd name="connsiteY6" fmla="*/ 4600091 h 4718602"/>
              <a:gd name="connsiteX7" fmla="*/ 3534298 w 6042287"/>
              <a:gd name="connsiteY7" fmla="*/ 3848775 h 4718602"/>
              <a:gd name="connsiteX8" fmla="*/ 3534298 w 6042287"/>
              <a:gd name="connsiteY8" fmla="*/ 3819878 h 4718602"/>
              <a:gd name="connsiteX9" fmla="*/ 3092683 w 6042287"/>
              <a:gd name="connsiteY9" fmla="*/ 3068562 h 4718602"/>
              <a:gd name="connsiteX10" fmla="*/ 2220458 w 6042287"/>
              <a:gd name="connsiteY10" fmla="*/ 3061682 h 4718602"/>
              <a:gd name="connsiteX11" fmla="*/ 2197070 w 6042287"/>
              <a:gd name="connsiteY11" fmla="*/ 3075442 h 4718602"/>
              <a:gd name="connsiteX12" fmla="*/ 1324846 w 6042287"/>
              <a:gd name="connsiteY12" fmla="*/ 3068562 h 4718602"/>
              <a:gd name="connsiteX13" fmla="*/ 1001545 w 6042287"/>
              <a:gd name="connsiteY13" fmla="*/ 2745193 h 4718602"/>
              <a:gd name="connsiteX14" fmla="*/ 996042 w 6042287"/>
              <a:gd name="connsiteY14" fmla="*/ 2734185 h 4718602"/>
              <a:gd name="connsiteX15" fmla="*/ 991915 w 6042287"/>
              <a:gd name="connsiteY15" fmla="*/ 2728681 h 4718602"/>
              <a:gd name="connsiteX16" fmla="*/ 861219 w 6042287"/>
              <a:gd name="connsiteY16" fmla="*/ 2501635 h 4718602"/>
              <a:gd name="connsiteX17" fmla="*/ 258641 w 6042287"/>
              <a:gd name="connsiteY17" fmla="*/ 1458599 h 4718602"/>
              <a:gd name="connsiteX18" fmla="*/ 130696 w 6042287"/>
              <a:gd name="connsiteY18" fmla="*/ 1234305 h 4718602"/>
              <a:gd name="connsiteX19" fmla="*/ 118315 w 6042287"/>
              <a:gd name="connsiteY19" fmla="*/ 1215041 h 4718602"/>
              <a:gd name="connsiteX20" fmla="*/ 0 w 6042287"/>
              <a:gd name="connsiteY20" fmla="*/ 787093 h 4718602"/>
              <a:gd name="connsiteX21" fmla="*/ 0 w 6042287"/>
              <a:gd name="connsiteY21" fmla="*/ 758196 h 4718602"/>
              <a:gd name="connsiteX22" fmla="*/ 118315 w 6042287"/>
              <a:gd name="connsiteY22" fmla="*/ 330249 h 4718602"/>
              <a:gd name="connsiteX23" fmla="*/ 429234 w 6042287"/>
              <a:gd name="connsiteY23" fmla="*/ 13761 h 4718602"/>
              <a:gd name="connsiteX24" fmla="*/ 453997 w 6042287"/>
              <a:gd name="connsiteY24" fmla="*/ 0 h 4718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6042287" h="4718602">
                <a:moveTo>
                  <a:pt x="453997" y="0"/>
                </a:moveTo>
                <a:cubicBezTo>
                  <a:pt x="6042287" y="0"/>
                  <a:pt x="6042287" y="0"/>
                  <a:pt x="6042287" y="0"/>
                </a:cubicBezTo>
                <a:lnTo>
                  <a:pt x="6040911" y="2791979"/>
                </a:lnTo>
                <a:cubicBezTo>
                  <a:pt x="5183820" y="4276722"/>
                  <a:pt x="5183820" y="4276722"/>
                  <a:pt x="5183820" y="4276722"/>
                </a:cubicBezTo>
                <a:cubicBezTo>
                  <a:pt x="5105403" y="4411574"/>
                  <a:pt x="4996718" y="4517529"/>
                  <a:pt x="4871525" y="4593211"/>
                </a:cubicBezTo>
                <a:cubicBezTo>
                  <a:pt x="4864647" y="4597339"/>
                  <a:pt x="4856392" y="4601467"/>
                  <a:pt x="4848138" y="4606971"/>
                </a:cubicBezTo>
                <a:cubicBezTo>
                  <a:pt x="4585370" y="4752831"/>
                  <a:pt x="4255190" y="4761087"/>
                  <a:pt x="3975913" y="4600091"/>
                </a:cubicBezTo>
                <a:cubicBezTo>
                  <a:pt x="3698012" y="4439095"/>
                  <a:pt x="3539801" y="4148751"/>
                  <a:pt x="3534298" y="3848775"/>
                </a:cubicBezTo>
                <a:cubicBezTo>
                  <a:pt x="3534298" y="3839143"/>
                  <a:pt x="3534298" y="3829510"/>
                  <a:pt x="3534298" y="3819878"/>
                </a:cubicBezTo>
                <a:cubicBezTo>
                  <a:pt x="3528795" y="3519902"/>
                  <a:pt x="3371959" y="3229558"/>
                  <a:pt x="3092683" y="3068562"/>
                </a:cubicBezTo>
                <a:cubicBezTo>
                  <a:pt x="2813406" y="2907566"/>
                  <a:pt x="2483226" y="2915822"/>
                  <a:pt x="2220458" y="3061682"/>
                </a:cubicBezTo>
                <a:cubicBezTo>
                  <a:pt x="2213579" y="3065810"/>
                  <a:pt x="2205325" y="3071314"/>
                  <a:pt x="2197070" y="3075442"/>
                </a:cubicBezTo>
                <a:cubicBezTo>
                  <a:pt x="1934302" y="3221302"/>
                  <a:pt x="1604123" y="3229558"/>
                  <a:pt x="1324846" y="3068562"/>
                </a:cubicBezTo>
                <a:cubicBezTo>
                  <a:pt x="1185895" y="2988752"/>
                  <a:pt x="1077211" y="2875917"/>
                  <a:pt x="1001545" y="2745193"/>
                </a:cubicBezTo>
                <a:cubicBezTo>
                  <a:pt x="1000169" y="2741065"/>
                  <a:pt x="997418" y="2738313"/>
                  <a:pt x="996042" y="2734185"/>
                </a:cubicBezTo>
                <a:cubicBezTo>
                  <a:pt x="994666" y="2732809"/>
                  <a:pt x="993291" y="2730057"/>
                  <a:pt x="991915" y="2728681"/>
                </a:cubicBezTo>
                <a:cubicBezTo>
                  <a:pt x="943764" y="2644743"/>
                  <a:pt x="899740" y="2569061"/>
                  <a:pt x="861219" y="2501635"/>
                </a:cubicBezTo>
                <a:cubicBezTo>
                  <a:pt x="595699" y="2040663"/>
                  <a:pt x="524160" y="1918195"/>
                  <a:pt x="258641" y="1458599"/>
                </a:cubicBezTo>
                <a:cubicBezTo>
                  <a:pt x="220120" y="1391173"/>
                  <a:pt x="177472" y="1318243"/>
                  <a:pt x="130696" y="1234305"/>
                </a:cubicBezTo>
                <a:cubicBezTo>
                  <a:pt x="126569" y="1228801"/>
                  <a:pt x="122442" y="1221921"/>
                  <a:pt x="118315" y="1215041"/>
                </a:cubicBezTo>
                <a:cubicBezTo>
                  <a:pt x="42649" y="1084317"/>
                  <a:pt x="2752" y="937081"/>
                  <a:pt x="0" y="787093"/>
                </a:cubicBezTo>
                <a:cubicBezTo>
                  <a:pt x="0" y="777461"/>
                  <a:pt x="0" y="767829"/>
                  <a:pt x="0" y="758196"/>
                </a:cubicBezTo>
                <a:cubicBezTo>
                  <a:pt x="1376" y="612336"/>
                  <a:pt x="39897" y="465101"/>
                  <a:pt x="118315" y="330249"/>
                </a:cubicBezTo>
                <a:cubicBezTo>
                  <a:pt x="196732" y="195397"/>
                  <a:pt x="304041" y="88067"/>
                  <a:pt x="429234" y="13761"/>
                </a:cubicBezTo>
                <a:cubicBezTo>
                  <a:pt x="437488" y="9632"/>
                  <a:pt x="445743" y="5504"/>
                  <a:pt x="453997" y="0"/>
                </a:cubicBezTo>
                <a:close/>
              </a:path>
            </a:pathLst>
          </a:custGeom>
        </p:spPr>
        <p:txBody>
          <a:bodyPr wrap="square" tIns="176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2F39E32-B5DC-1A0F-FE03-D516787C61A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746366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background with circles&#10;&#10;Description automatically generated">
            <a:extLst>
              <a:ext uri="{FF2B5EF4-FFF2-40B4-BE49-F238E27FC236}">
                <a16:creationId xmlns:a16="http://schemas.microsoft.com/office/drawing/2014/main" id="{9B766DFA-E0BC-C5FD-80A0-412708AC2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107" y="0"/>
            <a:ext cx="523089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736441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952789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Picture 10" descr="A colorful circle shapes&#10;&#10;Description automatically generated with medium confidence">
            <a:extLst>
              <a:ext uri="{FF2B5EF4-FFF2-40B4-BE49-F238E27FC236}">
                <a16:creationId xmlns:a16="http://schemas.microsoft.com/office/drawing/2014/main" id="{5B3C8BB0-8ED8-BDC1-E290-09F266D75D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2190" y="-1"/>
            <a:ext cx="5179810" cy="5898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55736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3171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837610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094077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93058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Blue, Image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blue and orange triangle&#10;&#10;Description automatically generated">
            <a:extLst>
              <a:ext uri="{FF2B5EF4-FFF2-40B4-BE49-F238E27FC236}">
                <a16:creationId xmlns:a16="http://schemas.microsoft.com/office/drawing/2014/main" id="{E10F1A70-AC56-37C5-4032-BA65164EF4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9850" y="0"/>
            <a:ext cx="577215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6632FEF-3500-BBEB-544E-998F0101D8B2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715250" y="-2"/>
            <a:ext cx="4476750" cy="5069657"/>
          </a:xfrm>
          <a:custGeom>
            <a:avLst/>
            <a:gdLst>
              <a:gd name="connsiteX0" fmla="*/ 3625174 w 4884974"/>
              <a:gd name="connsiteY0" fmla="*/ 0 h 5531947"/>
              <a:gd name="connsiteX1" fmla="*/ 4884974 w 4884974"/>
              <a:gd name="connsiteY1" fmla="*/ 0 h 5531947"/>
              <a:gd name="connsiteX2" fmla="*/ 4884974 w 4884974"/>
              <a:gd name="connsiteY2" fmla="*/ 5531947 h 5531947"/>
              <a:gd name="connsiteX3" fmla="*/ 1296191 w 4884974"/>
              <a:gd name="connsiteY3" fmla="*/ 4570397 h 5531947"/>
              <a:gd name="connsiteX4" fmla="*/ 809253 w 4884974"/>
              <a:gd name="connsiteY4" fmla="*/ 4400610 h 5531947"/>
              <a:gd name="connsiteX5" fmla="*/ 547589 w 4884974"/>
              <a:gd name="connsiteY5" fmla="*/ 4263740 h 5531947"/>
              <a:gd name="connsiteX6" fmla="*/ 393363 w 4884974"/>
              <a:gd name="connsiteY6" fmla="*/ 4164986 h 5531947"/>
              <a:gd name="connsiteX7" fmla="*/ 391630 w 4884974"/>
              <a:gd name="connsiteY7" fmla="*/ 4163254 h 5531947"/>
              <a:gd name="connsiteX8" fmla="*/ 389897 w 4884974"/>
              <a:gd name="connsiteY8" fmla="*/ 4161521 h 5531947"/>
              <a:gd name="connsiteX9" fmla="*/ 377767 w 4884974"/>
              <a:gd name="connsiteY9" fmla="*/ 4152859 h 5531947"/>
              <a:gd name="connsiteX10" fmla="*/ 372568 w 4884974"/>
              <a:gd name="connsiteY10" fmla="*/ 4151126 h 5531947"/>
              <a:gd name="connsiteX11" fmla="*/ 370835 w 4884974"/>
              <a:gd name="connsiteY11" fmla="*/ 4149394 h 5531947"/>
              <a:gd name="connsiteX12" fmla="*/ 367370 w 4884974"/>
              <a:gd name="connsiteY12" fmla="*/ 4147661 h 5531947"/>
              <a:gd name="connsiteX13" fmla="*/ 360438 w 4884974"/>
              <a:gd name="connsiteY13" fmla="*/ 4142463 h 5531947"/>
              <a:gd name="connsiteX14" fmla="*/ 355239 w 4884974"/>
              <a:gd name="connsiteY14" fmla="*/ 4138998 h 5531947"/>
              <a:gd name="connsiteX15" fmla="*/ 351774 w 4884974"/>
              <a:gd name="connsiteY15" fmla="*/ 4135533 h 5531947"/>
              <a:gd name="connsiteX16" fmla="*/ 343109 w 4884974"/>
              <a:gd name="connsiteY16" fmla="*/ 4130336 h 5531947"/>
              <a:gd name="connsiteX17" fmla="*/ 332712 w 4884974"/>
              <a:gd name="connsiteY17" fmla="*/ 4123406 h 5531947"/>
              <a:gd name="connsiteX18" fmla="*/ 325781 w 4884974"/>
              <a:gd name="connsiteY18" fmla="*/ 4118208 h 5531947"/>
              <a:gd name="connsiteX19" fmla="*/ 322315 w 4884974"/>
              <a:gd name="connsiteY19" fmla="*/ 4114743 h 5531947"/>
              <a:gd name="connsiteX20" fmla="*/ 315383 w 4884974"/>
              <a:gd name="connsiteY20" fmla="*/ 4109545 h 5531947"/>
              <a:gd name="connsiteX21" fmla="*/ 308452 w 4884974"/>
              <a:gd name="connsiteY21" fmla="*/ 4104348 h 5531947"/>
              <a:gd name="connsiteX22" fmla="*/ 299787 w 4884974"/>
              <a:gd name="connsiteY22" fmla="*/ 4099150 h 5531947"/>
              <a:gd name="connsiteX23" fmla="*/ 296322 w 4884974"/>
              <a:gd name="connsiteY23" fmla="*/ 4095685 h 5531947"/>
              <a:gd name="connsiteX24" fmla="*/ 291123 w 4884974"/>
              <a:gd name="connsiteY24" fmla="*/ 4090488 h 5531947"/>
              <a:gd name="connsiteX25" fmla="*/ 285924 w 4884974"/>
              <a:gd name="connsiteY25" fmla="*/ 4088755 h 5531947"/>
              <a:gd name="connsiteX26" fmla="*/ 278993 w 4884974"/>
              <a:gd name="connsiteY26" fmla="*/ 4081825 h 5531947"/>
              <a:gd name="connsiteX27" fmla="*/ 275527 w 4884974"/>
              <a:gd name="connsiteY27" fmla="*/ 4080093 h 5531947"/>
              <a:gd name="connsiteX28" fmla="*/ 272061 w 4884974"/>
              <a:gd name="connsiteY28" fmla="*/ 4076628 h 5531947"/>
              <a:gd name="connsiteX29" fmla="*/ 266863 w 4884974"/>
              <a:gd name="connsiteY29" fmla="*/ 4073162 h 5531947"/>
              <a:gd name="connsiteX30" fmla="*/ 259931 w 4884974"/>
              <a:gd name="connsiteY30" fmla="*/ 4067965 h 5531947"/>
              <a:gd name="connsiteX31" fmla="*/ 256466 w 4884974"/>
              <a:gd name="connsiteY31" fmla="*/ 4064500 h 5531947"/>
              <a:gd name="connsiteX32" fmla="*/ 242603 w 4884974"/>
              <a:gd name="connsiteY32" fmla="*/ 4054105 h 5531947"/>
              <a:gd name="connsiteX33" fmla="*/ 239137 w 4884974"/>
              <a:gd name="connsiteY33" fmla="*/ 4050640 h 5531947"/>
              <a:gd name="connsiteX34" fmla="*/ 228740 w 4884974"/>
              <a:gd name="connsiteY34" fmla="*/ 4043710 h 5531947"/>
              <a:gd name="connsiteX35" fmla="*/ 223541 w 4884974"/>
              <a:gd name="connsiteY35" fmla="*/ 4038512 h 5531947"/>
              <a:gd name="connsiteX36" fmla="*/ 206212 w 4884974"/>
              <a:gd name="connsiteY36" fmla="*/ 4024652 h 5531947"/>
              <a:gd name="connsiteX37" fmla="*/ 201014 w 4884974"/>
              <a:gd name="connsiteY37" fmla="*/ 4021187 h 5531947"/>
              <a:gd name="connsiteX38" fmla="*/ 195815 w 4884974"/>
              <a:gd name="connsiteY38" fmla="*/ 4015989 h 5531947"/>
              <a:gd name="connsiteX39" fmla="*/ 187151 w 4884974"/>
              <a:gd name="connsiteY39" fmla="*/ 4009059 h 5531947"/>
              <a:gd name="connsiteX40" fmla="*/ 157692 w 4884974"/>
              <a:gd name="connsiteY40" fmla="*/ 3984804 h 5531947"/>
              <a:gd name="connsiteX41" fmla="*/ 97041 w 4884974"/>
              <a:gd name="connsiteY41" fmla="*/ 3931096 h 5531947"/>
              <a:gd name="connsiteX42" fmla="*/ 31192 w 4884974"/>
              <a:gd name="connsiteY42" fmla="*/ 3870457 h 5531947"/>
              <a:gd name="connsiteX43" fmla="*/ 0 w 4884974"/>
              <a:gd name="connsiteY43" fmla="*/ 3839272 h 5531947"/>
              <a:gd name="connsiteX44" fmla="*/ 0 w 4884974"/>
              <a:gd name="connsiteY44" fmla="*/ 3835807 h 5531947"/>
              <a:gd name="connsiteX45" fmla="*/ 3466 w 4884974"/>
              <a:gd name="connsiteY45" fmla="*/ 3825412 h 5531947"/>
              <a:gd name="connsiteX46" fmla="*/ 20795 w 4884974"/>
              <a:gd name="connsiteY46" fmla="*/ 3764773 h 5531947"/>
              <a:gd name="connsiteX47" fmla="*/ 25993 w 4884974"/>
              <a:gd name="connsiteY47" fmla="*/ 3745716 h 5531947"/>
              <a:gd name="connsiteX48" fmla="*/ 72781 w 4884974"/>
              <a:gd name="connsiteY48" fmla="*/ 3589788 h 5531947"/>
              <a:gd name="connsiteX49" fmla="*/ 77979 w 4884974"/>
              <a:gd name="connsiteY49" fmla="*/ 3570731 h 5531947"/>
              <a:gd name="connsiteX50" fmla="*/ 98774 w 4884974"/>
              <a:gd name="connsiteY50" fmla="*/ 3511825 h 5531947"/>
              <a:gd name="connsiteX51" fmla="*/ 105705 w 4884974"/>
              <a:gd name="connsiteY51" fmla="*/ 3491035 h 5531947"/>
              <a:gd name="connsiteX52" fmla="*/ 131699 w 4884974"/>
              <a:gd name="connsiteY52" fmla="*/ 3414804 h 5531947"/>
              <a:gd name="connsiteX53" fmla="*/ 159425 w 4884974"/>
              <a:gd name="connsiteY53" fmla="*/ 3338573 h 5531947"/>
              <a:gd name="connsiteX54" fmla="*/ 166356 w 4884974"/>
              <a:gd name="connsiteY54" fmla="*/ 3317782 h 5531947"/>
              <a:gd name="connsiteX55" fmla="*/ 188883 w 4884974"/>
              <a:gd name="connsiteY55" fmla="*/ 3260609 h 5531947"/>
              <a:gd name="connsiteX56" fmla="*/ 197548 w 4884974"/>
              <a:gd name="connsiteY56" fmla="*/ 3239819 h 5531947"/>
              <a:gd name="connsiteX57" fmla="*/ 227007 w 4884974"/>
              <a:gd name="connsiteY57" fmla="*/ 3165320 h 5531947"/>
              <a:gd name="connsiteX58" fmla="*/ 258198 w 4884974"/>
              <a:gd name="connsiteY58" fmla="*/ 3089089 h 5531947"/>
              <a:gd name="connsiteX59" fmla="*/ 266863 w 4884974"/>
              <a:gd name="connsiteY59" fmla="*/ 3070031 h 5531947"/>
              <a:gd name="connsiteX60" fmla="*/ 291123 w 4884974"/>
              <a:gd name="connsiteY60" fmla="*/ 3012858 h 5531947"/>
              <a:gd name="connsiteX61" fmla="*/ 301520 w 4884974"/>
              <a:gd name="connsiteY61" fmla="*/ 2992068 h 5531947"/>
              <a:gd name="connsiteX62" fmla="*/ 334445 w 4884974"/>
              <a:gd name="connsiteY62" fmla="*/ 2919302 h 5531947"/>
              <a:gd name="connsiteX63" fmla="*/ 370835 w 4884974"/>
              <a:gd name="connsiteY63" fmla="*/ 2844803 h 5531947"/>
              <a:gd name="connsiteX64" fmla="*/ 379500 w 4884974"/>
              <a:gd name="connsiteY64" fmla="*/ 2825746 h 5531947"/>
              <a:gd name="connsiteX65" fmla="*/ 407226 w 4884974"/>
              <a:gd name="connsiteY65" fmla="*/ 2770305 h 5531947"/>
              <a:gd name="connsiteX66" fmla="*/ 417623 w 4884974"/>
              <a:gd name="connsiteY66" fmla="*/ 2749515 h 5531947"/>
              <a:gd name="connsiteX67" fmla="*/ 493869 w 4884974"/>
              <a:gd name="connsiteY67" fmla="*/ 2605715 h 5531947"/>
              <a:gd name="connsiteX68" fmla="*/ 504267 w 4884974"/>
              <a:gd name="connsiteY68" fmla="*/ 2586657 h 5531947"/>
              <a:gd name="connsiteX69" fmla="*/ 535458 w 4884974"/>
              <a:gd name="connsiteY69" fmla="*/ 2531217 h 5531947"/>
              <a:gd name="connsiteX70" fmla="*/ 545856 w 4884974"/>
              <a:gd name="connsiteY70" fmla="*/ 2512159 h 5531947"/>
              <a:gd name="connsiteX71" fmla="*/ 630767 w 4884974"/>
              <a:gd name="connsiteY71" fmla="*/ 2370092 h 5531947"/>
              <a:gd name="connsiteX72" fmla="*/ 642897 w 4884974"/>
              <a:gd name="connsiteY72" fmla="*/ 2351034 h 5531947"/>
              <a:gd name="connsiteX73" fmla="*/ 675821 w 4884974"/>
              <a:gd name="connsiteY73" fmla="*/ 2297326 h 5531947"/>
              <a:gd name="connsiteX74" fmla="*/ 687951 w 4884974"/>
              <a:gd name="connsiteY74" fmla="*/ 2280001 h 5531947"/>
              <a:gd name="connsiteX75" fmla="*/ 779794 w 4884974"/>
              <a:gd name="connsiteY75" fmla="*/ 2141399 h 5531947"/>
              <a:gd name="connsiteX76" fmla="*/ 791924 w 4884974"/>
              <a:gd name="connsiteY76" fmla="*/ 2122341 h 5531947"/>
              <a:gd name="connsiteX77" fmla="*/ 828314 w 4884974"/>
              <a:gd name="connsiteY77" fmla="*/ 2070366 h 5531947"/>
              <a:gd name="connsiteX78" fmla="*/ 842177 w 4884974"/>
              <a:gd name="connsiteY78" fmla="*/ 2051308 h 5531947"/>
              <a:gd name="connsiteX79" fmla="*/ 940951 w 4884974"/>
              <a:gd name="connsiteY79" fmla="*/ 1917904 h 5531947"/>
              <a:gd name="connsiteX80" fmla="*/ 954814 w 4884974"/>
              <a:gd name="connsiteY80" fmla="*/ 1898846 h 5531947"/>
              <a:gd name="connsiteX81" fmla="*/ 994670 w 4884974"/>
              <a:gd name="connsiteY81" fmla="*/ 1848603 h 5531947"/>
              <a:gd name="connsiteX82" fmla="*/ 1008533 w 4884974"/>
              <a:gd name="connsiteY82" fmla="*/ 1831277 h 5531947"/>
              <a:gd name="connsiteX83" fmla="*/ 1114239 w 4884974"/>
              <a:gd name="connsiteY83" fmla="*/ 1701338 h 5531947"/>
              <a:gd name="connsiteX84" fmla="*/ 1129835 w 4884974"/>
              <a:gd name="connsiteY84" fmla="*/ 1682280 h 5531947"/>
              <a:gd name="connsiteX85" fmla="*/ 1171424 w 4884974"/>
              <a:gd name="connsiteY85" fmla="*/ 1633770 h 5531947"/>
              <a:gd name="connsiteX86" fmla="*/ 1187019 w 4884974"/>
              <a:gd name="connsiteY86" fmla="*/ 1616444 h 5531947"/>
              <a:gd name="connsiteX87" fmla="*/ 1301389 w 4884974"/>
              <a:gd name="connsiteY87" fmla="*/ 1489970 h 5531947"/>
              <a:gd name="connsiteX88" fmla="*/ 1318718 w 4884974"/>
              <a:gd name="connsiteY88" fmla="*/ 1472645 h 5531947"/>
              <a:gd name="connsiteX89" fmla="*/ 1362040 w 4884974"/>
              <a:gd name="connsiteY89" fmla="*/ 1427599 h 5531947"/>
              <a:gd name="connsiteX90" fmla="*/ 1379369 w 4884974"/>
              <a:gd name="connsiteY90" fmla="*/ 1408542 h 5531947"/>
              <a:gd name="connsiteX91" fmla="*/ 1436553 w 4884974"/>
              <a:gd name="connsiteY91" fmla="*/ 1349636 h 5531947"/>
              <a:gd name="connsiteX92" fmla="*/ 1438286 w 4884974"/>
              <a:gd name="connsiteY92" fmla="*/ 1347903 h 5531947"/>
              <a:gd name="connsiteX93" fmla="*/ 3625174 w 4884974"/>
              <a:gd name="connsiteY93" fmla="*/ 0 h 5531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4884974" h="5531947">
                <a:moveTo>
                  <a:pt x="3625174" y="0"/>
                </a:moveTo>
                <a:lnTo>
                  <a:pt x="4884974" y="0"/>
                </a:lnTo>
                <a:cubicBezTo>
                  <a:pt x="4884974" y="0"/>
                  <a:pt x="4884974" y="0"/>
                  <a:pt x="4884974" y="5531947"/>
                </a:cubicBezTo>
                <a:cubicBezTo>
                  <a:pt x="3732612" y="5223558"/>
                  <a:pt x="3193688" y="5079759"/>
                  <a:pt x="1296191" y="4570397"/>
                </a:cubicBezTo>
                <a:cubicBezTo>
                  <a:pt x="1128102" y="4528816"/>
                  <a:pt x="965211" y="4471643"/>
                  <a:pt x="809253" y="4400610"/>
                </a:cubicBezTo>
                <a:cubicBezTo>
                  <a:pt x="720876" y="4359029"/>
                  <a:pt x="632499" y="4313983"/>
                  <a:pt x="547589" y="4263740"/>
                </a:cubicBezTo>
                <a:cubicBezTo>
                  <a:pt x="493869" y="4232555"/>
                  <a:pt x="443616" y="4199637"/>
                  <a:pt x="393363" y="4164986"/>
                </a:cubicBezTo>
                <a:cubicBezTo>
                  <a:pt x="391630" y="4164986"/>
                  <a:pt x="391630" y="4163254"/>
                  <a:pt x="391630" y="4163254"/>
                </a:cubicBezTo>
                <a:cubicBezTo>
                  <a:pt x="391630" y="4163254"/>
                  <a:pt x="389897" y="4163254"/>
                  <a:pt x="389897" y="4161521"/>
                </a:cubicBezTo>
                <a:cubicBezTo>
                  <a:pt x="384698" y="4159789"/>
                  <a:pt x="381233" y="4156324"/>
                  <a:pt x="377767" y="4152859"/>
                </a:cubicBezTo>
                <a:cubicBezTo>
                  <a:pt x="376034" y="4152859"/>
                  <a:pt x="374301" y="4151126"/>
                  <a:pt x="372568" y="4151126"/>
                </a:cubicBezTo>
                <a:cubicBezTo>
                  <a:pt x="372568" y="4149394"/>
                  <a:pt x="370835" y="4149394"/>
                  <a:pt x="370835" y="4149394"/>
                </a:cubicBezTo>
                <a:cubicBezTo>
                  <a:pt x="369102" y="4147661"/>
                  <a:pt x="369102" y="4147661"/>
                  <a:pt x="367370" y="4147661"/>
                </a:cubicBezTo>
                <a:cubicBezTo>
                  <a:pt x="365637" y="4145928"/>
                  <a:pt x="362171" y="4144196"/>
                  <a:pt x="360438" y="4142463"/>
                </a:cubicBezTo>
                <a:cubicBezTo>
                  <a:pt x="358705" y="4140731"/>
                  <a:pt x="356972" y="4138998"/>
                  <a:pt x="355239" y="4138998"/>
                </a:cubicBezTo>
                <a:cubicBezTo>
                  <a:pt x="353507" y="4137266"/>
                  <a:pt x="353507" y="4137266"/>
                  <a:pt x="351774" y="4135533"/>
                </a:cubicBezTo>
                <a:cubicBezTo>
                  <a:pt x="348308" y="4133801"/>
                  <a:pt x="346575" y="4132068"/>
                  <a:pt x="343109" y="4130336"/>
                </a:cubicBezTo>
                <a:cubicBezTo>
                  <a:pt x="339644" y="4126871"/>
                  <a:pt x="336178" y="4125138"/>
                  <a:pt x="332712" y="4123406"/>
                </a:cubicBezTo>
                <a:cubicBezTo>
                  <a:pt x="330979" y="4121673"/>
                  <a:pt x="329246" y="4119941"/>
                  <a:pt x="325781" y="4118208"/>
                </a:cubicBezTo>
                <a:cubicBezTo>
                  <a:pt x="324048" y="4116476"/>
                  <a:pt x="324048" y="4114743"/>
                  <a:pt x="322315" y="4114743"/>
                </a:cubicBezTo>
                <a:cubicBezTo>
                  <a:pt x="318849" y="4113011"/>
                  <a:pt x="317116" y="4111278"/>
                  <a:pt x="315383" y="4109545"/>
                </a:cubicBezTo>
                <a:cubicBezTo>
                  <a:pt x="313650" y="4107813"/>
                  <a:pt x="310185" y="4106080"/>
                  <a:pt x="308452" y="4104348"/>
                </a:cubicBezTo>
                <a:cubicBezTo>
                  <a:pt x="304986" y="4102615"/>
                  <a:pt x="303253" y="4100883"/>
                  <a:pt x="299787" y="4099150"/>
                </a:cubicBezTo>
                <a:cubicBezTo>
                  <a:pt x="299787" y="4097418"/>
                  <a:pt x="298055" y="4097418"/>
                  <a:pt x="296322" y="4095685"/>
                </a:cubicBezTo>
                <a:cubicBezTo>
                  <a:pt x="294589" y="4093953"/>
                  <a:pt x="292856" y="4092220"/>
                  <a:pt x="291123" y="4090488"/>
                </a:cubicBezTo>
                <a:cubicBezTo>
                  <a:pt x="289390" y="4090488"/>
                  <a:pt x="287657" y="4088755"/>
                  <a:pt x="285924" y="4088755"/>
                </a:cubicBezTo>
                <a:cubicBezTo>
                  <a:pt x="284192" y="4085290"/>
                  <a:pt x="280726" y="4083558"/>
                  <a:pt x="278993" y="4081825"/>
                </a:cubicBezTo>
                <a:cubicBezTo>
                  <a:pt x="277260" y="4081825"/>
                  <a:pt x="277260" y="4080093"/>
                  <a:pt x="275527" y="4080093"/>
                </a:cubicBezTo>
                <a:cubicBezTo>
                  <a:pt x="275527" y="4078360"/>
                  <a:pt x="273794" y="4078360"/>
                  <a:pt x="272061" y="4076628"/>
                </a:cubicBezTo>
                <a:cubicBezTo>
                  <a:pt x="270329" y="4076628"/>
                  <a:pt x="268596" y="4074895"/>
                  <a:pt x="266863" y="4073162"/>
                </a:cubicBezTo>
                <a:cubicBezTo>
                  <a:pt x="265130" y="4071430"/>
                  <a:pt x="263397" y="4069697"/>
                  <a:pt x="259931" y="4067965"/>
                </a:cubicBezTo>
                <a:cubicBezTo>
                  <a:pt x="258198" y="4066232"/>
                  <a:pt x="256466" y="4066232"/>
                  <a:pt x="256466" y="4064500"/>
                </a:cubicBezTo>
                <a:cubicBezTo>
                  <a:pt x="251267" y="4061035"/>
                  <a:pt x="246068" y="4057570"/>
                  <a:pt x="242603" y="4054105"/>
                </a:cubicBezTo>
                <a:cubicBezTo>
                  <a:pt x="240870" y="4052372"/>
                  <a:pt x="239137" y="4052372"/>
                  <a:pt x="239137" y="4050640"/>
                </a:cubicBezTo>
                <a:cubicBezTo>
                  <a:pt x="235671" y="4048907"/>
                  <a:pt x="232205" y="4045442"/>
                  <a:pt x="228740" y="4043710"/>
                </a:cubicBezTo>
                <a:cubicBezTo>
                  <a:pt x="227007" y="4041977"/>
                  <a:pt x="225274" y="4040245"/>
                  <a:pt x="223541" y="4038512"/>
                </a:cubicBezTo>
                <a:cubicBezTo>
                  <a:pt x="216609" y="4033314"/>
                  <a:pt x="211411" y="4028117"/>
                  <a:pt x="206212" y="4024652"/>
                </a:cubicBezTo>
                <a:cubicBezTo>
                  <a:pt x="204479" y="4022919"/>
                  <a:pt x="202746" y="4022919"/>
                  <a:pt x="201014" y="4021187"/>
                </a:cubicBezTo>
                <a:cubicBezTo>
                  <a:pt x="199281" y="4019454"/>
                  <a:pt x="197548" y="4017722"/>
                  <a:pt x="195815" y="4015989"/>
                </a:cubicBezTo>
                <a:cubicBezTo>
                  <a:pt x="192349" y="4014257"/>
                  <a:pt x="190616" y="4012524"/>
                  <a:pt x="187151" y="4009059"/>
                </a:cubicBezTo>
                <a:cubicBezTo>
                  <a:pt x="176753" y="4000396"/>
                  <a:pt x="168089" y="3993466"/>
                  <a:pt x="157692" y="3984804"/>
                </a:cubicBezTo>
                <a:cubicBezTo>
                  <a:pt x="136897" y="3967479"/>
                  <a:pt x="117836" y="3950153"/>
                  <a:pt x="97041" y="3931096"/>
                </a:cubicBezTo>
                <a:cubicBezTo>
                  <a:pt x="76247" y="3912038"/>
                  <a:pt x="53719" y="3891248"/>
                  <a:pt x="31192" y="3870457"/>
                </a:cubicBezTo>
                <a:cubicBezTo>
                  <a:pt x="20795" y="3858330"/>
                  <a:pt x="10397" y="3849667"/>
                  <a:pt x="0" y="3839272"/>
                </a:cubicBezTo>
                <a:cubicBezTo>
                  <a:pt x="0" y="3839272"/>
                  <a:pt x="0" y="3839272"/>
                  <a:pt x="0" y="3835807"/>
                </a:cubicBezTo>
                <a:cubicBezTo>
                  <a:pt x="1733" y="3832342"/>
                  <a:pt x="1733" y="3828877"/>
                  <a:pt x="3466" y="3825412"/>
                </a:cubicBezTo>
                <a:cubicBezTo>
                  <a:pt x="8664" y="3806354"/>
                  <a:pt x="13863" y="3785564"/>
                  <a:pt x="20795" y="3764773"/>
                </a:cubicBezTo>
                <a:cubicBezTo>
                  <a:pt x="22527" y="3757843"/>
                  <a:pt x="24260" y="3750913"/>
                  <a:pt x="25993" y="3745716"/>
                </a:cubicBezTo>
                <a:cubicBezTo>
                  <a:pt x="39856" y="3693740"/>
                  <a:pt x="55452" y="3641764"/>
                  <a:pt x="72781" y="3589788"/>
                </a:cubicBezTo>
                <a:cubicBezTo>
                  <a:pt x="74514" y="3582858"/>
                  <a:pt x="76247" y="3577661"/>
                  <a:pt x="77979" y="3570731"/>
                </a:cubicBezTo>
                <a:cubicBezTo>
                  <a:pt x="84911" y="3549940"/>
                  <a:pt x="91842" y="3530883"/>
                  <a:pt x="98774" y="3511825"/>
                </a:cubicBezTo>
                <a:cubicBezTo>
                  <a:pt x="100507" y="3504895"/>
                  <a:pt x="102240" y="3497965"/>
                  <a:pt x="105705" y="3491035"/>
                </a:cubicBezTo>
                <a:cubicBezTo>
                  <a:pt x="114370" y="3465047"/>
                  <a:pt x="123034" y="3440791"/>
                  <a:pt x="131699" y="3414804"/>
                </a:cubicBezTo>
                <a:cubicBezTo>
                  <a:pt x="140363" y="3388816"/>
                  <a:pt x="149027" y="3362828"/>
                  <a:pt x="159425" y="3338573"/>
                </a:cubicBezTo>
                <a:cubicBezTo>
                  <a:pt x="161157" y="3331642"/>
                  <a:pt x="164623" y="3324712"/>
                  <a:pt x="166356" y="3317782"/>
                </a:cubicBezTo>
                <a:cubicBezTo>
                  <a:pt x="173288" y="3298725"/>
                  <a:pt x="181952" y="3279667"/>
                  <a:pt x="188883" y="3260609"/>
                </a:cubicBezTo>
                <a:cubicBezTo>
                  <a:pt x="190616" y="3253679"/>
                  <a:pt x="194082" y="3246749"/>
                  <a:pt x="197548" y="3239819"/>
                </a:cubicBezTo>
                <a:cubicBezTo>
                  <a:pt x="206212" y="3215563"/>
                  <a:pt x="216609" y="3189576"/>
                  <a:pt x="227007" y="3165320"/>
                </a:cubicBezTo>
                <a:cubicBezTo>
                  <a:pt x="237404" y="3139332"/>
                  <a:pt x="247801" y="3115077"/>
                  <a:pt x="258198" y="3089089"/>
                </a:cubicBezTo>
                <a:cubicBezTo>
                  <a:pt x="261664" y="3083892"/>
                  <a:pt x="263397" y="3076962"/>
                  <a:pt x="266863" y="3070031"/>
                </a:cubicBezTo>
                <a:cubicBezTo>
                  <a:pt x="275527" y="3050974"/>
                  <a:pt x="284192" y="3031916"/>
                  <a:pt x="291123" y="3012858"/>
                </a:cubicBezTo>
                <a:cubicBezTo>
                  <a:pt x="294589" y="3005928"/>
                  <a:pt x="298055" y="2998998"/>
                  <a:pt x="301520" y="2992068"/>
                </a:cubicBezTo>
                <a:cubicBezTo>
                  <a:pt x="311918" y="2967813"/>
                  <a:pt x="324048" y="2943557"/>
                  <a:pt x="334445" y="2919302"/>
                </a:cubicBezTo>
                <a:cubicBezTo>
                  <a:pt x="346575" y="2895047"/>
                  <a:pt x="358705" y="2869059"/>
                  <a:pt x="370835" y="2844803"/>
                </a:cubicBezTo>
                <a:cubicBezTo>
                  <a:pt x="372568" y="2839606"/>
                  <a:pt x="376034" y="2832676"/>
                  <a:pt x="379500" y="2825746"/>
                </a:cubicBezTo>
                <a:cubicBezTo>
                  <a:pt x="388164" y="2806688"/>
                  <a:pt x="398561" y="2789363"/>
                  <a:pt x="407226" y="2770305"/>
                </a:cubicBezTo>
                <a:cubicBezTo>
                  <a:pt x="410691" y="2763375"/>
                  <a:pt x="414157" y="2756445"/>
                  <a:pt x="417623" y="2749515"/>
                </a:cubicBezTo>
                <a:cubicBezTo>
                  <a:pt x="441883" y="2701004"/>
                  <a:pt x="467876" y="2652493"/>
                  <a:pt x="493869" y="2605715"/>
                </a:cubicBezTo>
                <a:cubicBezTo>
                  <a:pt x="497335" y="2598785"/>
                  <a:pt x="500801" y="2591855"/>
                  <a:pt x="504267" y="2586657"/>
                </a:cubicBezTo>
                <a:cubicBezTo>
                  <a:pt x="514664" y="2567600"/>
                  <a:pt x="525061" y="2550274"/>
                  <a:pt x="535458" y="2531217"/>
                </a:cubicBezTo>
                <a:cubicBezTo>
                  <a:pt x="538924" y="2524287"/>
                  <a:pt x="542390" y="2519089"/>
                  <a:pt x="545856" y="2512159"/>
                </a:cubicBezTo>
                <a:cubicBezTo>
                  <a:pt x="573582" y="2463648"/>
                  <a:pt x="601308" y="2416870"/>
                  <a:pt x="630767" y="2370092"/>
                </a:cubicBezTo>
                <a:cubicBezTo>
                  <a:pt x="634232" y="2364894"/>
                  <a:pt x="637698" y="2357964"/>
                  <a:pt x="642897" y="2351034"/>
                </a:cubicBezTo>
                <a:cubicBezTo>
                  <a:pt x="653294" y="2333709"/>
                  <a:pt x="665424" y="2316384"/>
                  <a:pt x="675821" y="2297326"/>
                </a:cubicBezTo>
                <a:cubicBezTo>
                  <a:pt x="679287" y="2292128"/>
                  <a:pt x="684486" y="2285198"/>
                  <a:pt x="687951" y="2280001"/>
                </a:cubicBezTo>
                <a:cubicBezTo>
                  <a:pt x="717410" y="2233223"/>
                  <a:pt x="748602" y="2186445"/>
                  <a:pt x="779794" y="2141399"/>
                </a:cubicBezTo>
                <a:cubicBezTo>
                  <a:pt x="783260" y="2134469"/>
                  <a:pt x="788458" y="2129271"/>
                  <a:pt x="791924" y="2122341"/>
                </a:cubicBezTo>
                <a:cubicBezTo>
                  <a:pt x="804054" y="2105016"/>
                  <a:pt x="816184" y="2087691"/>
                  <a:pt x="828314" y="2070366"/>
                </a:cubicBezTo>
                <a:cubicBezTo>
                  <a:pt x="833513" y="2065168"/>
                  <a:pt x="836979" y="2058238"/>
                  <a:pt x="842177" y="2051308"/>
                </a:cubicBezTo>
                <a:cubicBezTo>
                  <a:pt x="875102" y="2006262"/>
                  <a:pt x="908027" y="1961217"/>
                  <a:pt x="940951" y="1917904"/>
                </a:cubicBezTo>
                <a:cubicBezTo>
                  <a:pt x="946150" y="1910973"/>
                  <a:pt x="951348" y="1905776"/>
                  <a:pt x="954814" y="1898846"/>
                </a:cubicBezTo>
                <a:cubicBezTo>
                  <a:pt x="968677" y="1883253"/>
                  <a:pt x="980807" y="1865928"/>
                  <a:pt x="994670" y="1848603"/>
                </a:cubicBezTo>
                <a:cubicBezTo>
                  <a:pt x="999869" y="1843405"/>
                  <a:pt x="1003335" y="1836475"/>
                  <a:pt x="1008533" y="1831277"/>
                </a:cubicBezTo>
                <a:cubicBezTo>
                  <a:pt x="1043191" y="1786232"/>
                  <a:pt x="1079581" y="1742919"/>
                  <a:pt x="1114239" y="1701338"/>
                </a:cubicBezTo>
                <a:cubicBezTo>
                  <a:pt x="1119437" y="1694408"/>
                  <a:pt x="1124636" y="1689210"/>
                  <a:pt x="1129835" y="1682280"/>
                </a:cubicBezTo>
                <a:cubicBezTo>
                  <a:pt x="1143698" y="1666688"/>
                  <a:pt x="1157561" y="1651095"/>
                  <a:pt x="1171424" y="1633770"/>
                </a:cubicBezTo>
                <a:cubicBezTo>
                  <a:pt x="1176622" y="1628572"/>
                  <a:pt x="1181821" y="1621642"/>
                  <a:pt x="1187019" y="1616444"/>
                </a:cubicBezTo>
                <a:cubicBezTo>
                  <a:pt x="1225143" y="1574864"/>
                  <a:pt x="1263266" y="1531551"/>
                  <a:pt x="1301389" y="1489970"/>
                </a:cubicBezTo>
                <a:cubicBezTo>
                  <a:pt x="1306588" y="1484773"/>
                  <a:pt x="1311786" y="1477843"/>
                  <a:pt x="1318718" y="1472645"/>
                </a:cubicBezTo>
                <a:cubicBezTo>
                  <a:pt x="1332581" y="1457052"/>
                  <a:pt x="1346444" y="1441460"/>
                  <a:pt x="1362040" y="1427599"/>
                </a:cubicBezTo>
                <a:cubicBezTo>
                  <a:pt x="1367238" y="1420669"/>
                  <a:pt x="1374170" y="1415472"/>
                  <a:pt x="1379369" y="1408542"/>
                </a:cubicBezTo>
                <a:cubicBezTo>
                  <a:pt x="1398430" y="1389484"/>
                  <a:pt x="1417492" y="1368694"/>
                  <a:pt x="1436553" y="1349636"/>
                </a:cubicBezTo>
                <a:cubicBezTo>
                  <a:pt x="1438286" y="1349636"/>
                  <a:pt x="1438286" y="1347903"/>
                  <a:pt x="1438286" y="1347903"/>
                </a:cubicBezTo>
                <a:cubicBezTo>
                  <a:pt x="2074251" y="712067"/>
                  <a:pt x="2826319" y="263344"/>
                  <a:pt x="3625174" y="0"/>
                </a:cubicBezTo>
                <a:close/>
              </a:path>
            </a:pathLst>
          </a:custGeom>
        </p:spPr>
        <p:txBody>
          <a:bodyPr wrap="square" tIns="2232000" anchor="t" anchorCtr="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39898F-060B-CC91-8A38-3BFBD5354CC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569759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961795C-4FB4-1DBF-B2FF-C135024E7F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487" t="24275" r="36846" b="22968"/>
          <a:stretch/>
        </p:blipFill>
        <p:spPr>
          <a:xfrm>
            <a:off x="6547164" y="0"/>
            <a:ext cx="5644837" cy="6858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6504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9A043F-EC5B-3888-7E67-3E0F750A41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39825" t="27472" b="16565"/>
          <a:stretch/>
        </p:blipFill>
        <p:spPr>
          <a:xfrm flipH="1">
            <a:off x="7378342" y="-26896"/>
            <a:ext cx="4840550" cy="6884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57122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07F4C44-6C60-E7C8-7939-876180F32F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6011" r="25038" b="12622"/>
          <a:stretch/>
        </p:blipFill>
        <p:spPr>
          <a:xfrm>
            <a:off x="6957081" y="-13449"/>
            <a:ext cx="5247299" cy="688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82812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EE5F76A-EDD2-2CEE-5784-EFB92164D4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2447"/>
          <a:stretch/>
        </p:blipFill>
        <p:spPr>
          <a:xfrm>
            <a:off x="6270172" y="-11148"/>
            <a:ext cx="5959342" cy="688259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73770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959EBCC-B1E4-EAD3-432C-B443C192BE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1" t="6603" r="35729" b="10052"/>
          <a:stretch/>
        </p:blipFill>
        <p:spPr>
          <a:xfrm>
            <a:off x="6514138" y="-13445"/>
            <a:ext cx="5687802" cy="6871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10231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olou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B67F3C-B23F-37FD-2273-51EAAF7FF8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20488" r="31419" b="6693"/>
          <a:stretch/>
        </p:blipFill>
        <p:spPr>
          <a:xfrm>
            <a:off x="6026568" y="-13447"/>
            <a:ext cx="6192326" cy="6871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85396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orange gradient&#10;&#10;Description automatically generated">
            <a:extLst>
              <a:ext uri="{FF2B5EF4-FFF2-40B4-BE49-F238E27FC236}">
                <a16:creationId xmlns:a16="http://schemas.microsoft.com/office/drawing/2014/main" id="{BB08B6D7-9DFB-0B5A-72BD-AF8D4B6782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310" y="4267245"/>
            <a:ext cx="2868930" cy="2615879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5F69B26-C1D2-001D-7B52-E91D153AC3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43611" y="0"/>
            <a:ext cx="5848390" cy="6858000"/>
          </a:xfrm>
          <a:custGeom>
            <a:avLst/>
            <a:gdLst>
              <a:gd name="connsiteX0" fmla="*/ 0 w 2528887"/>
              <a:gd name="connsiteY0" fmla="*/ 0 h 2965450"/>
              <a:gd name="connsiteX1" fmla="*/ 2528887 w 2528887"/>
              <a:gd name="connsiteY1" fmla="*/ 0 h 2965450"/>
              <a:gd name="connsiteX2" fmla="*/ 2528887 w 2528887"/>
              <a:gd name="connsiteY2" fmla="*/ 1860271 h 2965450"/>
              <a:gd name="connsiteX3" fmla="*/ 1471752 w 2528887"/>
              <a:gd name="connsiteY3" fmla="*/ 2471208 h 2965450"/>
              <a:gd name="connsiteX4" fmla="*/ 1355055 w 2528887"/>
              <a:gd name="connsiteY4" fmla="*/ 2587218 h 2965450"/>
              <a:gd name="connsiteX5" fmla="*/ 1355055 w 2528887"/>
              <a:gd name="connsiteY5" fmla="*/ 2905043 h 2965450"/>
              <a:gd name="connsiteX6" fmla="*/ 1381827 w 2528887"/>
              <a:gd name="connsiteY6" fmla="*/ 2965450 h 2965450"/>
              <a:gd name="connsiteX7" fmla="*/ 0 w 2528887"/>
              <a:gd name="connsiteY7" fmla="*/ 2965450 h 2965450"/>
              <a:gd name="connsiteX8" fmla="*/ 0 w 2528887"/>
              <a:gd name="connsiteY8" fmla="*/ 0 h 2965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8887" h="2965450">
                <a:moveTo>
                  <a:pt x="0" y="0"/>
                </a:moveTo>
                <a:lnTo>
                  <a:pt x="2528887" y="0"/>
                </a:lnTo>
                <a:cubicBezTo>
                  <a:pt x="2528887" y="0"/>
                  <a:pt x="2528887" y="0"/>
                  <a:pt x="2528887" y="1860271"/>
                </a:cubicBezTo>
                <a:cubicBezTo>
                  <a:pt x="2528887" y="1860271"/>
                  <a:pt x="2528887" y="1860271"/>
                  <a:pt x="1471752" y="2471208"/>
                </a:cubicBezTo>
                <a:cubicBezTo>
                  <a:pt x="1424387" y="2497980"/>
                  <a:pt x="1383886" y="2537794"/>
                  <a:pt x="1355055" y="2587218"/>
                </a:cubicBezTo>
                <a:cubicBezTo>
                  <a:pt x="1298766" y="2685380"/>
                  <a:pt x="1298766" y="2806881"/>
                  <a:pt x="1355055" y="2905043"/>
                </a:cubicBezTo>
                <a:cubicBezTo>
                  <a:pt x="1366725" y="2924263"/>
                  <a:pt x="1375649" y="2944857"/>
                  <a:pt x="1381827" y="2965450"/>
                </a:cubicBezTo>
                <a:cubicBezTo>
                  <a:pt x="1381827" y="2965450"/>
                  <a:pt x="1381827" y="2965450"/>
                  <a:pt x="0" y="2965450"/>
                </a:cubicBezTo>
                <a:cubicBezTo>
                  <a:pt x="0" y="2965450"/>
                  <a:pt x="0" y="2965450"/>
                  <a:pt x="0" y="0"/>
                </a:cubicBezTo>
                <a:close/>
              </a:path>
            </a:pathLst>
          </a:custGeom>
        </p:spPr>
        <p:txBody>
          <a:bodyPr wrap="square" tIns="244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5823685"/>
            <a:ext cx="1837784" cy="51112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2ED556-318C-0990-9C21-48245CFA04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9003514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yellow and orange gradient&#10;&#10;Description automatically generated">
            <a:extLst>
              <a:ext uri="{FF2B5EF4-FFF2-40B4-BE49-F238E27FC236}">
                <a16:creationId xmlns:a16="http://schemas.microsoft.com/office/drawing/2014/main" id="{B5EA0191-64B2-37EE-1EB3-A2B96BACF1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5365" y="3952078"/>
            <a:ext cx="3189242" cy="21364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4848225"/>
            <a:ext cx="1760013" cy="79819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D5F72E-9CFA-4DC4-D9DD-072AFE5847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61102B7-5897-6D37-B5F8-20800A75B7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096" y="1996924"/>
            <a:ext cx="11174232" cy="4054626"/>
          </a:xfrm>
          <a:custGeom>
            <a:avLst/>
            <a:gdLst>
              <a:gd name="connsiteX0" fmla="*/ 0 w 7893376"/>
              <a:gd name="connsiteY0" fmla="*/ 0 h 2864151"/>
              <a:gd name="connsiteX1" fmla="*/ 717120 w 7893376"/>
              <a:gd name="connsiteY1" fmla="*/ 0 h 2864151"/>
              <a:gd name="connsiteX2" fmla="*/ 1389435 w 7893376"/>
              <a:gd name="connsiteY2" fmla="*/ 0 h 2864151"/>
              <a:gd name="connsiteX3" fmla="*/ 2018390 w 7893376"/>
              <a:gd name="connsiteY3" fmla="*/ 0 h 2864151"/>
              <a:gd name="connsiteX4" fmla="*/ 2605431 w 7893376"/>
              <a:gd name="connsiteY4" fmla="*/ 0 h 2864151"/>
              <a:gd name="connsiteX5" fmla="*/ 3152004 w 7893376"/>
              <a:gd name="connsiteY5" fmla="*/ 0 h 2864151"/>
              <a:gd name="connsiteX6" fmla="*/ 3659552 w 7893376"/>
              <a:gd name="connsiteY6" fmla="*/ 0 h 2864151"/>
              <a:gd name="connsiteX7" fmla="*/ 4129522 w 7893376"/>
              <a:gd name="connsiteY7" fmla="*/ 0 h 2864151"/>
              <a:gd name="connsiteX8" fmla="*/ 4563359 w 7893376"/>
              <a:gd name="connsiteY8" fmla="*/ 0 h 2864151"/>
              <a:gd name="connsiteX9" fmla="*/ 4962508 w 7893376"/>
              <a:gd name="connsiteY9" fmla="*/ 0 h 2864151"/>
              <a:gd name="connsiteX10" fmla="*/ 5328415 w 7893376"/>
              <a:gd name="connsiteY10" fmla="*/ 0 h 2864151"/>
              <a:gd name="connsiteX11" fmla="*/ 5662525 w 7893376"/>
              <a:gd name="connsiteY11" fmla="*/ 0 h 2864151"/>
              <a:gd name="connsiteX12" fmla="*/ 5966283 w 7893376"/>
              <a:gd name="connsiteY12" fmla="*/ 0 h 2864151"/>
              <a:gd name="connsiteX13" fmla="*/ 6241135 w 7893376"/>
              <a:gd name="connsiteY13" fmla="*/ 0 h 2864151"/>
              <a:gd name="connsiteX14" fmla="*/ 6488526 w 7893376"/>
              <a:gd name="connsiteY14" fmla="*/ 0 h 2864151"/>
              <a:gd name="connsiteX15" fmla="*/ 6709900 w 7893376"/>
              <a:gd name="connsiteY15" fmla="*/ 0 h 2864151"/>
              <a:gd name="connsiteX16" fmla="*/ 6906705 w 7893376"/>
              <a:gd name="connsiteY16" fmla="*/ 0 h 2864151"/>
              <a:gd name="connsiteX17" fmla="*/ 7080384 w 7893376"/>
              <a:gd name="connsiteY17" fmla="*/ 0 h 2864151"/>
              <a:gd name="connsiteX18" fmla="*/ 7232384 w 7893376"/>
              <a:gd name="connsiteY18" fmla="*/ 0 h 2864151"/>
              <a:gd name="connsiteX19" fmla="*/ 7477125 w 7893376"/>
              <a:gd name="connsiteY19" fmla="*/ 0 h 2864151"/>
              <a:gd name="connsiteX20" fmla="*/ 7652490 w 7893376"/>
              <a:gd name="connsiteY20" fmla="*/ 0 h 2864151"/>
              <a:gd name="connsiteX21" fmla="*/ 7770043 w 7893376"/>
              <a:gd name="connsiteY21" fmla="*/ 0 h 2864151"/>
              <a:gd name="connsiteX22" fmla="*/ 7841345 w 7893376"/>
              <a:gd name="connsiteY22" fmla="*/ 0 h 2864151"/>
              <a:gd name="connsiteX23" fmla="*/ 7877960 w 7893376"/>
              <a:gd name="connsiteY23" fmla="*/ 0 h 2864151"/>
              <a:gd name="connsiteX24" fmla="*/ 7891450 w 7893376"/>
              <a:gd name="connsiteY24" fmla="*/ 0 h 2864151"/>
              <a:gd name="connsiteX25" fmla="*/ 7893376 w 7893376"/>
              <a:gd name="connsiteY25" fmla="*/ 0 h 2864151"/>
              <a:gd name="connsiteX26" fmla="*/ 7893376 w 7893376"/>
              <a:gd name="connsiteY26" fmla="*/ 1424213 h 2864151"/>
              <a:gd name="connsiteX27" fmla="*/ 7343668 w 7893376"/>
              <a:gd name="connsiteY27" fmla="*/ 1424213 h 2864151"/>
              <a:gd name="connsiteX28" fmla="*/ 6951018 w 7893376"/>
              <a:gd name="connsiteY28" fmla="*/ 1424213 h 2864151"/>
              <a:gd name="connsiteX29" fmla="*/ 6735622 w 7893376"/>
              <a:gd name="connsiteY29" fmla="*/ 1426460 h 2864151"/>
              <a:gd name="connsiteX30" fmla="*/ 6567344 w 7893376"/>
              <a:gd name="connsiteY30" fmla="*/ 1469141 h 2864151"/>
              <a:gd name="connsiteX31" fmla="*/ 6307073 w 7893376"/>
              <a:gd name="connsiteY31" fmla="*/ 1709505 h 2864151"/>
              <a:gd name="connsiteX32" fmla="*/ 5782045 w 7893376"/>
              <a:gd name="connsiteY32" fmla="*/ 2646251 h 2864151"/>
              <a:gd name="connsiteX33" fmla="*/ 5708002 w 7893376"/>
              <a:gd name="connsiteY33" fmla="*/ 2864151 h 2864151"/>
              <a:gd name="connsiteX34" fmla="*/ 5189426 w 7893376"/>
              <a:gd name="connsiteY34" fmla="*/ 2864151 h 2864151"/>
              <a:gd name="connsiteX35" fmla="*/ 4703249 w 7893376"/>
              <a:gd name="connsiteY35" fmla="*/ 2864151 h 2864151"/>
              <a:gd name="connsiteX36" fmla="*/ 4248427 w 7893376"/>
              <a:gd name="connsiteY36" fmla="*/ 2864151 h 2864151"/>
              <a:gd name="connsiteX37" fmla="*/ 3823916 w 7893376"/>
              <a:gd name="connsiteY37" fmla="*/ 2864151 h 2864151"/>
              <a:gd name="connsiteX38" fmla="*/ 3428669 w 7893376"/>
              <a:gd name="connsiteY38" fmla="*/ 2864151 h 2864151"/>
              <a:gd name="connsiteX39" fmla="*/ 3061641 w 7893376"/>
              <a:gd name="connsiteY39" fmla="*/ 2864151 h 2864151"/>
              <a:gd name="connsiteX40" fmla="*/ 2721788 w 7893376"/>
              <a:gd name="connsiteY40" fmla="*/ 2864151 h 2864151"/>
              <a:gd name="connsiteX41" fmla="*/ 2408064 w 7893376"/>
              <a:gd name="connsiteY41" fmla="*/ 2864151 h 2864151"/>
              <a:gd name="connsiteX42" fmla="*/ 2119424 w 7893376"/>
              <a:gd name="connsiteY42" fmla="*/ 2864151 h 2864151"/>
              <a:gd name="connsiteX43" fmla="*/ 1854822 w 7893376"/>
              <a:gd name="connsiteY43" fmla="*/ 2864151 h 2864151"/>
              <a:gd name="connsiteX44" fmla="*/ 1613215 w 7893376"/>
              <a:gd name="connsiteY44" fmla="*/ 2864151 h 2864151"/>
              <a:gd name="connsiteX45" fmla="*/ 1393555 w 7893376"/>
              <a:gd name="connsiteY45" fmla="*/ 2864151 h 2864151"/>
              <a:gd name="connsiteX46" fmla="*/ 1194800 w 7893376"/>
              <a:gd name="connsiteY46" fmla="*/ 2864151 h 2864151"/>
              <a:gd name="connsiteX47" fmla="*/ 1015902 w 7893376"/>
              <a:gd name="connsiteY47" fmla="*/ 2864151 h 2864151"/>
              <a:gd name="connsiteX48" fmla="*/ 713501 w 7893376"/>
              <a:gd name="connsiteY48" fmla="*/ 2864151 h 2864151"/>
              <a:gd name="connsiteX49" fmla="*/ 477990 w 7893376"/>
              <a:gd name="connsiteY49" fmla="*/ 2864151 h 2864151"/>
              <a:gd name="connsiteX50" fmla="*/ 301008 w 7893376"/>
              <a:gd name="connsiteY50" fmla="*/ 2864151 h 2864151"/>
              <a:gd name="connsiteX51" fmla="*/ 174195 w 7893376"/>
              <a:gd name="connsiteY51" fmla="*/ 2864151 h 2864151"/>
              <a:gd name="connsiteX52" fmla="*/ 89188 w 7893376"/>
              <a:gd name="connsiteY52" fmla="*/ 2864151 h 2864151"/>
              <a:gd name="connsiteX53" fmla="*/ 37626 w 7893376"/>
              <a:gd name="connsiteY53" fmla="*/ 2864151 h 2864151"/>
              <a:gd name="connsiteX54" fmla="*/ 11149 w 7893376"/>
              <a:gd name="connsiteY54" fmla="*/ 2864151 h 2864151"/>
              <a:gd name="connsiteX55" fmla="*/ 0 w 7893376"/>
              <a:gd name="connsiteY55" fmla="*/ 2864151 h 2864151"/>
              <a:gd name="connsiteX56" fmla="*/ 0 w 7893376"/>
              <a:gd name="connsiteY56" fmla="*/ 0 h 2864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7893376" h="2864151">
                <a:moveTo>
                  <a:pt x="0" y="0"/>
                </a:moveTo>
                <a:lnTo>
                  <a:pt x="717120" y="0"/>
                </a:lnTo>
                <a:lnTo>
                  <a:pt x="1389435" y="0"/>
                </a:lnTo>
                <a:lnTo>
                  <a:pt x="2018390" y="0"/>
                </a:lnTo>
                <a:lnTo>
                  <a:pt x="2605431" y="0"/>
                </a:lnTo>
                <a:lnTo>
                  <a:pt x="3152004" y="0"/>
                </a:lnTo>
                <a:lnTo>
                  <a:pt x="3659552" y="0"/>
                </a:lnTo>
                <a:lnTo>
                  <a:pt x="4129522" y="0"/>
                </a:lnTo>
                <a:lnTo>
                  <a:pt x="4563359" y="0"/>
                </a:lnTo>
                <a:lnTo>
                  <a:pt x="4962508" y="0"/>
                </a:lnTo>
                <a:lnTo>
                  <a:pt x="5328415" y="0"/>
                </a:lnTo>
                <a:lnTo>
                  <a:pt x="5662525" y="0"/>
                </a:lnTo>
                <a:lnTo>
                  <a:pt x="5966283" y="0"/>
                </a:lnTo>
                <a:lnTo>
                  <a:pt x="6241135" y="0"/>
                </a:lnTo>
                <a:lnTo>
                  <a:pt x="6488526" y="0"/>
                </a:lnTo>
                <a:lnTo>
                  <a:pt x="6709900" y="0"/>
                </a:lnTo>
                <a:lnTo>
                  <a:pt x="6906705" y="0"/>
                </a:lnTo>
                <a:lnTo>
                  <a:pt x="7080384" y="0"/>
                </a:lnTo>
                <a:lnTo>
                  <a:pt x="7232384" y="0"/>
                </a:lnTo>
                <a:lnTo>
                  <a:pt x="7477125" y="0"/>
                </a:lnTo>
                <a:lnTo>
                  <a:pt x="7652490" y="0"/>
                </a:lnTo>
                <a:lnTo>
                  <a:pt x="7770043" y="0"/>
                </a:lnTo>
                <a:lnTo>
                  <a:pt x="7841345" y="0"/>
                </a:lnTo>
                <a:lnTo>
                  <a:pt x="7877960" y="0"/>
                </a:lnTo>
                <a:lnTo>
                  <a:pt x="7891450" y="0"/>
                </a:lnTo>
                <a:lnTo>
                  <a:pt x="7893376" y="0"/>
                </a:lnTo>
                <a:lnTo>
                  <a:pt x="7893376" y="1424213"/>
                </a:lnTo>
                <a:lnTo>
                  <a:pt x="7343668" y="1424213"/>
                </a:lnTo>
                <a:cubicBezTo>
                  <a:pt x="7213532" y="1424213"/>
                  <a:pt x="7083397" y="1424213"/>
                  <a:pt x="6951018" y="1424213"/>
                </a:cubicBezTo>
                <a:cubicBezTo>
                  <a:pt x="6879220" y="1424213"/>
                  <a:pt x="6807420" y="1421967"/>
                  <a:pt x="6735622" y="1426460"/>
                </a:cubicBezTo>
                <a:cubicBezTo>
                  <a:pt x="6679529" y="1433199"/>
                  <a:pt x="6621192" y="1444431"/>
                  <a:pt x="6567344" y="1469141"/>
                </a:cubicBezTo>
                <a:cubicBezTo>
                  <a:pt x="6455158" y="1518562"/>
                  <a:pt x="6367653" y="1603925"/>
                  <a:pt x="6307073" y="1709505"/>
                </a:cubicBezTo>
                <a:cubicBezTo>
                  <a:pt x="6044558" y="2174508"/>
                  <a:pt x="6042315" y="2181248"/>
                  <a:pt x="5782045" y="2646251"/>
                </a:cubicBezTo>
                <a:cubicBezTo>
                  <a:pt x="5741658" y="2713643"/>
                  <a:pt x="5716977" y="2787774"/>
                  <a:pt x="5708002" y="2864151"/>
                </a:cubicBezTo>
                <a:lnTo>
                  <a:pt x="5189426" y="2864151"/>
                </a:lnTo>
                <a:lnTo>
                  <a:pt x="4703249" y="2864151"/>
                </a:lnTo>
                <a:lnTo>
                  <a:pt x="4248427" y="2864151"/>
                </a:lnTo>
                <a:lnTo>
                  <a:pt x="3823916" y="2864151"/>
                </a:lnTo>
                <a:lnTo>
                  <a:pt x="3428669" y="2864151"/>
                </a:lnTo>
                <a:lnTo>
                  <a:pt x="3061641" y="2864151"/>
                </a:lnTo>
                <a:lnTo>
                  <a:pt x="2721788" y="2864151"/>
                </a:lnTo>
                <a:lnTo>
                  <a:pt x="2408064" y="2864151"/>
                </a:lnTo>
                <a:lnTo>
                  <a:pt x="2119424" y="2864151"/>
                </a:lnTo>
                <a:lnTo>
                  <a:pt x="1854822" y="2864151"/>
                </a:lnTo>
                <a:lnTo>
                  <a:pt x="1613215" y="2864151"/>
                </a:lnTo>
                <a:lnTo>
                  <a:pt x="1393555" y="2864151"/>
                </a:lnTo>
                <a:lnTo>
                  <a:pt x="1194800" y="2864151"/>
                </a:lnTo>
                <a:lnTo>
                  <a:pt x="1015902" y="2864151"/>
                </a:lnTo>
                <a:lnTo>
                  <a:pt x="713501" y="2864151"/>
                </a:lnTo>
                <a:lnTo>
                  <a:pt x="477990" y="2864151"/>
                </a:lnTo>
                <a:lnTo>
                  <a:pt x="301008" y="2864151"/>
                </a:lnTo>
                <a:lnTo>
                  <a:pt x="174195" y="2864151"/>
                </a:lnTo>
                <a:lnTo>
                  <a:pt x="89188" y="2864151"/>
                </a:lnTo>
                <a:lnTo>
                  <a:pt x="37626" y="2864151"/>
                </a:lnTo>
                <a:lnTo>
                  <a:pt x="11149" y="2864151"/>
                </a:lnTo>
                <a:lnTo>
                  <a:pt x="0" y="2864151"/>
                </a:ln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82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47052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1058133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/>
          <a:lstStyle/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/>
          <a:lstStyle/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/>
          <a:lstStyle/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855245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 descr="A colorful circle with a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06EE9A53-1C7B-5979-B7CE-200FF761C9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971" y="1890464"/>
            <a:ext cx="3656029" cy="4972199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AC6C5AD-53E7-7B70-DE54-586A3C97E74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81567" y="0"/>
            <a:ext cx="5310433" cy="4803646"/>
          </a:xfrm>
          <a:custGeom>
            <a:avLst/>
            <a:gdLst>
              <a:gd name="connsiteX0" fmla="*/ 426115 w 5528906"/>
              <a:gd name="connsiteY0" fmla="*/ 0 h 5001270"/>
              <a:gd name="connsiteX1" fmla="*/ 5528906 w 5528906"/>
              <a:gd name="connsiteY1" fmla="*/ 0 h 5001270"/>
              <a:gd name="connsiteX2" fmla="*/ 5527248 w 5528906"/>
              <a:gd name="connsiteY2" fmla="*/ 3025644 h 5001270"/>
              <a:gd name="connsiteX3" fmla="*/ 5527248 w 5528906"/>
              <a:gd name="connsiteY3" fmla="*/ 1973967 h 5001270"/>
              <a:gd name="connsiteX4" fmla="*/ 5522272 w 5528906"/>
              <a:gd name="connsiteY4" fmla="*/ 1975626 h 5001270"/>
              <a:gd name="connsiteX5" fmla="*/ 5505689 w 5528906"/>
              <a:gd name="connsiteY5" fmla="*/ 1978944 h 5001270"/>
              <a:gd name="connsiteX6" fmla="*/ 5444330 w 5528906"/>
              <a:gd name="connsiteY6" fmla="*/ 1992214 h 5001270"/>
              <a:gd name="connsiteX7" fmla="*/ 5427746 w 5528906"/>
              <a:gd name="connsiteY7" fmla="*/ 1997191 h 5001270"/>
              <a:gd name="connsiteX8" fmla="*/ 5368044 w 5528906"/>
              <a:gd name="connsiteY8" fmla="*/ 2012120 h 5001270"/>
              <a:gd name="connsiteX9" fmla="*/ 5351461 w 5528906"/>
              <a:gd name="connsiteY9" fmla="*/ 2015437 h 5001270"/>
              <a:gd name="connsiteX10" fmla="*/ 5290102 w 5528906"/>
              <a:gd name="connsiteY10" fmla="*/ 2032025 h 5001270"/>
              <a:gd name="connsiteX11" fmla="*/ 5276834 w 5528906"/>
              <a:gd name="connsiteY11" fmla="*/ 2037002 h 5001270"/>
              <a:gd name="connsiteX12" fmla="*/ 5212158 w 5528906"/>
              <a:gd name="connsiteY12" fmla="*/ 2053590 h 5001270"/>
              <a:gd name="connsiteX13" fmla="*/ 5203867 w 5528906"/>
              <a:gd name="connsiteY13" fmla="*/ 2056907 h 5001270"/>
              <a:gd name="connsiteX14" fmla="*/ 5135874 w 5528906"/>
              <a:gd name="connsiteY14" fmla="*/ 2076813 h 5001270"/>
              <a:gd name="connsiteX15" fmla="*/ 4905361 w 5528906"/>
              <a:gd name="connsiteY15" fmla="*/ 2154776 h 5001270"/>
              <a:gd name="connsiteX16" fmla="*/ 2882155 w 5528906"/>
              <a:gd name="connsiteY16" fmla="*/ 3558118 h 5001270"/>
              <a:gd name="connsiteX17" fmla="*/ 2880496 w 5528906"/>
              <a:gd name="connsiteY17" fmla="*/ 3561435 h 5001270"/>
              <a:gd name="connsiteX18" fmla="*/ 2872204 w 5528906"/>
              <a:gd name="connsiteY18" fmla="*/ 3569729 h 5001270"/>
              <a:gd name="connsiteX19" fmla="*/ 2840696 w 5528906"/>
              <a:gd name="connsiteY19" fmla="*/ 3609540 h 5001270"/>
              <a:gd name="connsiteX20" fmla="*/ 2829087 w 5528906"/>
              <a:gd name="connsiteY20" fmla="*/ 3621152 h 5001270"/>
              <a:gd name="connsiteX21" fmla="*/ 2829087 w 5528906"/>
              <a:gd name="connsiteY21" fmla="*/ 3622811 h 5001270"/>
              <a:gd name="connsiteX22" fmla="*/ 2785969 w 5528906"/>
              <a:gd name="connsiteY22" fmla="*/ 3674233 h 5001270"/>
              <a:gd name="connsiteX23" fmla="*/ 2776019 w 5528906"/>
              <a:gd name="connsiteY23" fmla="*/ 3687504 h 5001270"/>
              <a:gd name="connsiteX24" fmla="*/ 2734560 w 5528906"/>
              <a:gd name="connsiteY24" fmla="*/ 3740585 h 5001270"/>
              <a:gd name="connsiteX25" fmla="*/ 2731243 w 5528906"/>
              <a:gd name="connsiteY25" fmla="*/ 3745562 h 5001270"/>
              <a:gd name="connsiteX26" fmla="*/ 2693101 w 5528906"/>
              <a:gd name="connsiteY26" fmla="*/ 3795325 h 5001270"/>
              <a:gd name="connsiteX27" fmla="*/ 2683151 w 5528906"/>
              <a:gd name="connsiteY27" fmla="*/ 3808596 h 5001270"/>
              <a:gd name="connsiteX28" fmla="*/ 2643350 w 5528906"/>
              <a:gd name="connsiteY28" fmla="*/ 3861677 h 5001270"/>
              <a:gd name="connsiteX29" fmla="*/ 2638375 w 5528906"/>
              <a:gd name="connsiteY29" fmla="*/ 3869971 h 5001270"/>
              <a:gd name="connsiteX30" fmla="*/ 2603549 w 5528906"/>
              <a:gd name="connsiteY30" fmla="*/ 3918076 h 5001270"/>
              <a:gd name="connsiteX31" fmla="*/ 2593599 w 5528906"/>
              <a:gd name="connsiteY31" fmla="*/ 3931347 h 5001270"/>
              <a:gd name="connsiteX32" fmla="*/ 2557115 w 5528906"/>
              <a:gd name="connsiteY32" fmla="*/ 3986087 h 5001270"/>
              <a:gd name="connsiteX33" fmla="*/ 2548823 w 5528906"/>
              <a:gd name="connsiteY33" fmla="*/ 3996040 h 5001270"/>
              <a:gd name="connsiteX34" fmla="*/ 2517314 w 5528906"/>
              <a:gd name="connsiteY34" fmla="*/ 4044145 h 5001270"/>
              <a:gd name="connsiteX35" fmla="*/ 2509022 w 5528906"/>
              <a:gd name="connsiteY35" fmla="*/ 4059074 h 5001270"/>
              <a:gd name="connsiteX36" fmla="*/ 2474197 w 5528906"/>
              <a:gd name="connsiteY36" fmla="*/ 4113814 h 5001270"/>
              <a:gd name="connsiteX37" fmla="*/ 2465905 w 5528906"/>
              <a:gd name="connsiteY37" fmla="*/ 4125426 h 5001270"/>
              <a:gd name="connsiteX38" fmla="*/ 2436054 w 5528906"/>
              <a:gd name="connsiteY38" fmla="*/ 4173531 h 5001270"/>
              <a:gd name="connsiteX39" fmla="*/ 2427762 w 5528906"/>
              <a:gd name="connsiteY39" fmla="*/ 4186801 h 5001270"/>
              <a:gd name="connsiteX40" fmla="*/ 2394595 w 5528906"/>
              <a:gd name="connsiteY40" fmla="*/ 4243200 h 5001270"/>
              <a:gd name="connsiteX41" fmla="*/ 2386303 w 5528906"/>
              <a:gd name="connsiteY41" fmla="*/ 4256471 h 5001270"/>
              <a:gd name="connsiteX42" fmla="*/ 2359769 w 5528906"/>
              <a:gd name="connsiteY42" fmla="*/ 4304576 h 5001270"/>
              <a:gd name="connsiteX43" fmla="*/ 2351478 w 5528906"/>
              <a:gd name="connsiteY43" fmla="*/ 4317846 h 5001270"/>
              <a:gd name="connsiteX44" fmla="*/ 2319969 w 5528906"/>
              <a:gd name="connsiteY44" fmla="*/ 4374245 h 5001270"/>
              <a:gd name="connsiteX45" fmla="*/ 2311677 w 5528906"/>
              <a:gd name="connsiteY45" fmla="*/ 4389175 h 5001270"/>
              <a:gd name="connsiteX46" fmla="*/ 2285143 w 5528906"/>
              <a:gd name="connsiteY46" fmla="*/ 4438938 h 5001270"/>
              <a:gd name="connsiteX47" fmla="*/ 2278510 w 5528906"/>
              <a:gd name="connsiteY47" fmla="*/ 4450550 h 5001270"/>
              <a:gd name="connsiteX48" fmla="*/ 2248659 w 5528906"/>
              <a:gd name="connsiteY48" fmla="*/ 4508608 h 5001270"/>
              <a:gd name="connsiteX49" fmla="*/ 2242026 w 5528906"/>
              <a:gd name="connsiteY49" fmla="*/ 4525196 h 5001270"/>
              <a:gd name="connsiteX50" fmla="*/ 2215492 w 5528906"/>
              <a:gd name="connsiteY50" fmla="*/ 4574960 h 5001270"/>
              <a:gd name="connsiteX51" fmla="*/ 2210517 w 5528906"/>
              <a:gd name="connsiteY51" fmla="*/ 4586571 h 5001270"/>
              <a:gd name="connsiteX52" fmla="*/ 2182324 w 5528906"/>
              <a:gd name="connsiteY52" fmla="*/ 4644629 h 5001270"/>
              <a:gd name="connsiteX53" fmla="*/ 2175691 w 5528906"/>
              <a:gd name="connsiteY53" fmla="*/ 4661217 h 5001270"/>
              <a:gd name="connsiteX54" fmla="*/ 2150815 w 5528906"/>
              <a:gd name="connsiteY54" fmla="*/ 4715957 h 5001270"/>
              <a:gd name="connsiteX55" fmla="*/ 2147499 w 5528906"/>
              <a:gd name="connsiteY55" fmla="*/ 4724251 h 5001270"/>
              <a:gd name="connsiteX56" fmla="*/ 2120965 w 5528906"/>
              <a:gd name="connsiteY56" fmla="*/ 4783968 h 5001270"/>
              <a:gd name="connsiteX57" fmla="*/ 2112673 w 5528906"/>
              <a:gd name="connsiteY57" fmla="*/ 4800556 h 5001270"/>
              <a:gd name="connsiteX58" fmla="*/ 2089456 w 5528906"/>
              <a:gd name="connsiteY58" fmla="*/ 4858614 h 5001270"/>
              <a:gd name="connsiteX59" fmla="*/ 2087798 w 5528906"/>
              <a:gd name="connsiteY59" fmla="*/ 4863590 h 5001270"/>
              <a:gd name="connsiteX60" fmla="*/ 2062922 w 5528906"/>
              <a:gd name="connsiteY60" fmla="*/ 4924966 h 5001270"/>
              <a:gd name="connsiteX61" fmla="*/ 2056289 w 5528906"/>
              <a:gd name="connsiteY61" fmla="*/ 4939895 h 5001270"/>
              <a:gd name="connsiteX62" fmla="*/ 2033072 w 5528906"/>
              <a:gd name="connsiteY62" fmla="*/ 5001270 h 5001270"/>
              <a:gd name="connsiteX63" fmla="*/ 598585 w 5528906"/>
              <a:gd name="connsiteY63" fmla="*/ 3808596 h 5001270"/>
              <a:gd name="connsiteX64" fmla="*/ 106051 w 5528906"/>
              <a:gd name="connsiteY64" fmla="*/ 3128489 h 5001270"/>
              <a:gd name="connsiteX65" fmla="*/ 104392 w 5528906"/>
              <a:gd name="connsiteY65" fmla="*/ 3126831 h 5001270"/>
              <a:gd name="connsiteX66" fmla="*/ 104392 w 5528906"/>
              <a:gd name="connsiteY66" fmla="*/ 3123513 h 5001270"/>
              <a:gd name="connsiteX67" fmla="*/ 101076 w 5528906"/>
              <a:gd name="connsiteY67" fmla="*/ 3116878 h 5001270"/>
              <a:gd name="connsiteX68" fmla="*/ 96100 w 5528906"/>
              <a:gd name="connsiteY68" fmla="*/ 3103607 h 5001270"/>
              <a:gd name="connsiteX69" fmla="*/ 94442 w 5528906"/>
              <a:gd name="connsiteY69" fmla="*/ 3096972 h 5001270"/>
              <a:gd name="connsiteX70" fmla="*/ 91125 w 5528906"/>
              <a:gd name="connsiteY70" fmla="*/ 3087020 h 5001270"/>
              <a:gd name="connsiteX71" fmla="*/ 87809 w 5528906"/>
              <a:gd name="connsiteY71" fmla="*/ 3082043 h 5001270"/>
              <a:gd name="connsiteX72" fmla="*/ 87809 w 5528906"/>
              <a:gd name="connsiteY72" fmla="*/ 3078726 h 5001270"/>
              <a:gd name="connsiteX73" fmla="*/ 82834 w 5528906"/>
              <a:gd name="connsiteY73" fmla="*/ 3065455 h 5001270"/>
              <a:gd name="connsiteX74" fmla="*/ 82834 w 5528906"/>
              <a:gd name="connsiteY74" fmla="*/ 3063796 h 5001270"/>
              <a:gd name="connsiteX75" fmla="*/ 24791 w 5528906"/>
              <a:gd name="connsiteY75" fmla="*/ 2274209 h 5001270"/>
              <a:gd name="connsiteX76" fmla="*/ 28107 w 5528906"/>
              <a:gd name="connsiteY76" fmla="*/ 2259280 h 5001270"/>
              <a:gd name="connsiteX77" fmla="*/ 426115 w 5528906"/>
              <a:gd name="connsiteY77" fmla="*/ 0 h 5001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528906" h="5001270">
                <a:moveTo>
                  <a:pt x="426115" y="0"/>
                </a:moveTo>
                <a:cubicBezTo>
                  <a:pt x="426115" y="0"/>
                  <a:pt x="426115" y="0"/>
                  <a:pt x="5528906" y="0"/>
                </a:cubicBezTo>
                <a:cubicBezTo>
                  <a:pt x="5528906" y="0"/>
                  <a:pt x="5528906" y="0"/>
                  <a:pt x="5527248" y="3025644"/>
                </a:cubicBezTo>
                <a:cubicBezTo>
                  <a:pt x="5527248" y="3025644"/>
                  <a:pt x="5527248" y="3025644"/>
                  <a:pt x="5527248" y="1973967"/>
                </a:cubicBezTo>
                <a:cubicBezTo>
                  <a:pt x="5525590" y="1973967"/>
                  <a:pt x="5523931" y="1973967"/>
                  <a:pt x="5522272" y="1975626"/>
                </a:cubicBezTo>
                <a:cubicBezTo>
                  <a:pt x="5517298" y="1975626"/>
                  <a:pt x="5510664" y="1977285"/>
                  <a:pt x="5505689" y="1978944"/>
                </a:cubicBezTo>
                <a:cubicBezTo>
                  <a:pt x="5485788" y="1983920"/>
                  <a:pt x="5464230" y="1987238"/>
                  <a:pt x="5444330" y="1992214"/>
                </a:cubicBezTo>
                <a:cubicBezTo>
                  <a:pt x="5439354" y="1993873"/>
                  <a:pt x="5432721" y="1995532"/>
                  <a:pt x="5427746" y="1997191"/>
                </a:cubicBezTo>
                <a:cubicBezTo>
                  <a:pt x="5407846" y="2002167"/>
                  <a:pt x="5387945" y="2007143"/>
                  <a:pt x="5368044" y="2012120"/>
                </a:cubicBezTo>
                <a:cubicBezTo>
                  <a:pt x="5361411" y="2013779"/>
                  <a:pt x="5356436" y="2015437"/>
                  <a:pt x="5351461" y="2015437"/>
                </a:cubicBezTo>
                <a:cubicBezTo>
                  <a:pt x="5329902" y="2022073"/>
                  <a:pt x="5310002" y="2027049"/>
                  <a:pt x="5290102" y="2032025"/>
                </a:cubicBezTo>
                <a:cubicBezTo>
                  <a:pt x="5285126" y="2033684"/>
                  <a:pt x="5280151" y="2035343"/>
                  <a:pt x="5276834" y="2037002"/>
                </a:cubicBezTo>
                <a:cubicBezTo>
                  <a:pt x="5255276" y="2041978"/>
                  <a:pt x="5233717" y="2048613"/>
                  <a:pt x="5212158" y="2053590"/>
                </a:cubicBezTo>
                <a:cubicBezTo>
                  <a:pt x="5210500" y="2055248"/>
                  <a:pt x="5207183" y="2055248"/>
                  <a:pt x="5203867" y="2056907"/>
                </a:cubicBezTo>
                <a:cubicBezTo>
                  <a:pt x="5180649" y="2063542"/>
                  <a:pt x="5159091" y="2070178"/>
                  <a:pt x="5135874" y="2076813"/>
                </a:cubicBezTo>
                <a:cubicBezTo>
                  <a:pt x="5057930" y="2101695"/>
                  <a:pt x="4981646" y="2126577"/>
                  <a:pt x="4905361" y="2154776"/>
                </a:cubicBezTo>
                <a:cubicBezTo>
                  <a:pt x="4091103" y="2450042"/>
                  <a:pt x="3406198" y="2942704"/>
                  <a:pt x="2882155" y="3558118"/>
                </a:cubicBezTo>
                <a:cubicBezTo>
                  <a:pt x="2882155" y="3559776"/>
                  <a:pt x="2880496" y="3559776"/>
                  <a:pt x="2880496" y="3561435"/>
                </a:cubicBezTo>
                <a:cubicBezTo>
                  <a:pt x="2877180" y="3564753"/>
                  <a:pt x="2875521" y="3568070"/>
                  <a:pt x="2872204" y="3569729"/>
                </a:cubicBezTo>
                <a:cubicBezTo>
                  <a:pt x="2862254" y="3583000"/>
                  <a:pt x="2850646" y="3596270"/>
                  <a:pt x="2840696" y="3609540"/>
                </a:cubicBezTo>
                <a:cubicBezTo>
                  <a:pt x="2835720" y="3612858"/>
                  <a:pt x="2832404" y="3617834"/>
                  <a:pt x="2829087" y="3621152"/>
                </a:cubicBezTo>
                <a:cubicBezTo>
                  <a:pt x="2829087" y="3621152"/>
                  <a:pt x="2829087" y="3621152"/>
                  <a:pt x="2829087" y="3622811"/>
                </a:cubicBezTo>
                <a:cubicBezTo>
                  <a:pt x="2814162" y="3639399"/>
                  <a:pt x="2800895" y="3655987"/>
                  <a:pt x="2785969" y="3674233"/>
                </a:cubicBezTo>
                <a:cubicBezTo>
                  <a:pt x="2782653" y="3679210"/>
                  <a:pt x="2779336" y="3682527"/>
                  <a:pt x="2776019" y="3687504"/>
                </a:cubicBezTo>
                <a:cubicBezTo>
                  <a:pt x="2761094" y="3705750"/>
                  <a:pt x="2747827" y="3722338"/>
                  <a:pt x="2734560" y="3740585"/>
                </a:cubicBezTo>
                <a:cubicBezTo>
                  <a:pt x="2732902" y="3742244"/>
                  <a:pt x="2731243" y="3743903"/>
                  <a:pt x="2731243" y="3745562"/>
                </a:cubicBezTo>
                <a:cubicBezTo>
                  <a:pt x="2717976" y="3762149"/>
                  <a:pt x="2704710" y="3778737"/>
                  <a:pt x="2693101" y="3795325"/>
                </a:cubicBezTo>
                <a:cubicBezTo>
                  <a:pt x="2689784" y="3798643"/>
                  <a:pt x="2686468" y="3803619"/>
                  <a:pt x="2683151" y="3808596"/>
                </a:cubicBezTo>
                <a:cubicBezTo>
                  <a:pt x="2669884" y="3826843"/>
                  <a:pt x="2656617" y="3843431"/>
                  <a:pt x="2643350" y="3861677"/>
                </a:cubicBezTo>
                <a:cubicBezTo>
                  <a:pt x="2641692" y="3864995"/>
                  <a:pt x="2640033" y="3866654"/>
                  <a:pt x="2638375" y="3869971"/>
                </a:cubicBezTo>
                <a:cubicBezTo>
                  <a:pt x="2626766" y="3886559"/>
                  <a:pt x="2615158" y="3901488"/>
                  <a:pt x="2603549" y="3918076"/>
                </a:cubicBezTo>
                <a:cubicBezTo>
                  <a:pt x="2600232" y="3923053"/>
                  <a:pt x="2596916" y="3928029"/>
                  <a:pt x="2593599" y="3931347"/>
                </a:cubicBezTo>
                <a:cubicBezTo>
                  <a:pt x="2581990" y="3949593"/>
                  <a:pt x="2568724" y="3967840"/>
                  <a:pt x="2557115" y="3986087"/>
                </a:cubicBezTo>
                <a:cubicBezTo>
                  <a:pt x="2553798" y="3989405"/>
                  <a:pt x="2552140" y="3992722"/>
                  <a:pt x="2548823" y="3996040"/>
                </a:cubicBezTo>
                <a:cubicBezTo>
                  <a:pt x="2538873" y="4012628"/>
                  <a:pt x="2528923" y="4029216"/>
                  <a:pt x="2517314" y="4044145"/>
                </a:cubicBezTo>
                <a:cubicBezTo>
                  <a:pt x="2515656" y="4049121"/>
                  <a:pt x="2512339" y="4054098"/>
                  <a:pt x="2509022" y="4059074"/>
                </a:cubicBezTo>
                <a:cubicBezTo>
                  <a:pt x="2497414" y="4077321"/>
                  <a:pt x="2485805" y="4095567"/>
                  <a:pt x="2474197" y="4113814"/>
                </a:cubicBezTo>
                <a:cubicBezTo>
                  <a:pt x="2470880" y="4117132"/>
                  <a:pt x="2469222" y="4122108"/>
                  <a:pt x="2465905" y="4125426"/>
                </a:cubicBezTo>
                <a:cubicBezTo>
                  <a:pt x="2455955" y="4142014"/>
                  <a:pt x="2446004" y="4156943"/>
                  <a:pt x="2436054" y="4173531"/>
                </a:cubicBezTo>
                <a:cubicBezTo>
                  <a:pt x="2434396" y="4178507"/>
                  <a:pt x="2431079" y="4181825"/>
                  <a:pt x="2427762" y="4186801"/>
                </a:cubicBezTo>
                <a:cubicBezTo>
                  <a:pt x="2416154" y="4205048"/>
                  <a:pt x="2406204" y="4224954"/>
                  <a:pt x="2394595" y="4243200"/>
                </a:cubicBezTo>
                <a:cubicBezTo>
                  <a:pt x="2391278" y="4248177"/>
                  <a:pt x="2389620" y="4251494"/>
                  <a:pt x="2386303" y="4256471"/>
                </a:cubicBezTo>
                <a:cubicBezTo>
                  <a:pt x="2378012" y="4273059"/>
                  <a:pt x="2368061" y="4287988"/>
                  <a:pt x="2359769" y="4304576"/>
                </a:cubicBezTo>
                <a:cubicBezTo>
                  <a:pt x="2356453" y="4309552"/>
                  <a:pt x="2354794" y="4312870"/>
                  <a:pt x="2351478" y="4317846"/>
                </a:cubicBezTo>
                <a:cubicBezTo>
                  <a:pt x="2341527" y="4336093"/>
                  <a:pt x="2329919" y="4355999"/>
                  <a:pt x="2319969" y="4374245"/>
                </a:cubicBezTo>
                <a:cubicBezTo>
                  <a:pt x="2316652" y="4379222"/>
                  <a:pt x="2314994" y="4384198"/>
                  <a:pt x="2311677" y="4389175"/>
                </a:cubicBezTo>
                <a:cubicBezTo>
                  <a:pt x="2303385" y="4405762"/>
                  <a:pt x="2295093" y="4422350"/>
                  <a:pt x="2285143" y="4438938"/>
                </a:cubicBezTo>
                <a:cubicBezTo>
                  <a:pt x="2283485" y="4442256"/>
                  <a:pt x="2281826" y="4447232"/>
                  <a:pt x="2278510" y="4450550"/>
                </a:cubicBezTo>
                <a:cubicBezTo>
                  <a:pt x="2268559" y="4470456"/>
                  <a:pt x="2258609" y="4488702"/>
                  <a:pt x="2248659" y="4508608"/>
                </a:cubicBezTo>
                <a:cubicBezTo>
                  <a:pt x="2247001" y="4513584"/>
                  <a:pt x="2243684" y="4520219"/>
                  <a:pt x="2242026" y="4525196"/>
                </a:cubicBezTo>
                <a:cubicBezTo>
                  <a:pt x="2232075" y="4541784"/>
                  <a:pt x="2223784" y="4558372"/>
                  <a:pt x="2215492" y="4574960"/>
                </a:cubicBezTo>
                <a:cubicBezTo>
                  <a:pt x="2213833" y="4578277"/>
                  <a:pt x="2212175" y="4583254"/>
                  <a:pt x="2210517" y="4586571"/>
                </a:cubicBezTo>
                <a:cubicBezTo>
                  <a:pt x="2202225" y="4606477"/>
                  <a:pt x="2192275" y="4624724"/>
                  <a:pt x="2182324" y="4644629"/>
                </a:cubicBezTo>
                <a:cubicBezTo>
                  <a:pt x="2180666" y="4651264"/>
                  <a:pt x="2177349" y="4656241"/>
                  <a:pt x="2175691" y="4661217"/>
                </a:cubicBezTo>
                <a:cubicBezTo>
                  <a:pt x="2167399" y="4679464"/>
                  <a:pt x="2159107" y="4697711"/>
                  <a:pt x="2150815" y="4715957"/>
                </a:cubicBezTo>
                <a:cubicBezTo>
                  <a:pt x="2149157" y="4717616"/>
                  <a:pt x="2147499" y="4720934"/>
                  <a:pt x="2147499" y="4724251"/>
                </a:cubicBezTo>
                <a:cubicBezTo>
                  <a:pt x="2137548" y="4744157"/>
                  <a:pt x="2129257" y="4764062"/>
                  <a:pt x="2120965" y="4783968"/>
                </a:cubicBezTo>
                <a:cubicBezTo>
                  <a:pt x="2117648" y="4788944"/>
                  <a:pt x="2115990" y="4793921"/>
                  <a:pt x="2112673" y="4800556"/>
                </a:cubicBezTo>
                <a:cubicBezTo>
                  <a:pt x="2104381" y="4820461"/>
                  <a:pt x="2096089" y="4838708"/>
                  <a:pt x="2089456" y="4858614"/>
                </a:cubicBezTo>
                <a:cubicBezTo>
                  <a:pt x="2087798" y="4860273"/>
                  <a:pt x="2087798" y="4861931"/>
                  <a:pt x="2087798" y="4863590"/>
                </a:cubicBezTo>
                <a:cubicBezTo>
                  <a:pt x="2079506" y="4883496"/>
                  <a:pt x="2071214" y="4903401"/>
                  <a:pt x="2062922" y="4924966"/>
                </a:cubicBezTo>
                <a:cubicBezTo>
                  <a:pt x="2061264" y="4929942"/>
                  <a:pt x="2057947" y="4934918"/>
                  <a:pt x="2056289" y="4939895"/>
                </a:cubicBezTo>
                <a:cubicBezTo>
                  <a:pt x="2047997" y="4961459"/>
                  <a:pt x="2039705" y="4981365"/>
                  <a:pt x="2033072" y="5001270"/>
                </a:cubicBezTo>
                <a:lnTo>
                  <a:pt x="598585" y="3808596"/>
                </a:lnTo>
                <a:cubicBezTo>
                  <a:pt x="378023" y="3629446"/>
                  <a:pt x="207211" y="3393897"/>
                  <a:pt x="106051" y="3128489"/>
                </a:cubicBezTo>
                <a:cubicBezTo>
                  <a:pt x="106051" y="3128489"/>
                  <a:pt x="104392" y="3126831"/>
                  <a:pt x="104392" y="3126831"/>
                </a:cubicBezTo>
                <a:cubicBezTo>
                  <a:pt x="104392" y="3125172"/>
                  <a:pt x="104392" y="3125172"/>
                  <a:pt x="104392" y="3123513"/>
                </a:cubicBezTo>
                <a:cubicBezTo>
                  <a:pt x="102734" y="3121854"/>
                  <a:pt x="102734" y="3118537"/>
                  <a:pt x="101076" y="3116878"/>
                </a:cubicBezTo>
                <a:cubicBezTo>
                  <a:pt x="99417" y="3111901"/>
                  <a:pt x="97759" y="3108584"/>
                  <a:pt x="96100" y="3103607"/>
                </a:cubicBezTo>
                <a:cubicBezTo>
                  <a:pt x="96100" y="3101949"/>
                  <a:pt x="94442" y="3100290"/>
                  <a:pt x="94442" y="3096972"/>
                </a:cubicBezTo>
                <a:cubicBezTo>
                  <a:pt x="92784" y="3093655"/>
                  <a:pt x="91125" y="3090337"/>
                  <a:pt x="91125" y="3087020"/>
                </a:cubicBezTo>
                <a:cubicBezTo>
                  <a:pt x="89467" y="3085361"/>
                  <a:pt x="89467" y="3083702"/>
                  <a:pt x="87809" y="3082043"/>
                </a:cubicBezTo>
                <a:cubicBezTo>
                  <a:pt x="87809" y="3080384"/>
                  <a:pt x="87809" y="3080384"/>
                  <a:pt x="87809" y="3078726"/>
                </a:cubicBezTo>
                <a:cubicBezTo>
                  <a:pt x="86150" y="3073749"/>
                  <a:pt x="84492" y="3070432"/>
                  <a:pt x="82834" y="3065455"/>
                </a:cubicBezTo>
                <a:cubicBezTo>
                  <a:pt x="82834" y="3065455"/>
                  <a:pt x="82834" y="3063796"/>
                  <a:pt x="82834" y="3063796"/>
                </a:cubicBezTo>
                <a:cubicBezTo>
                  <a:pt x="-85" y="2816636"/>
                  <a:pt x="-23302" y="2547911"/>
                  <a:pt x="24791" y="2274209"/>
                </a:cubicBezTo>
                <a:cubicBezTo>
                  <a:pt x="24791" y="2269233"/>
                  <a:pt x="26449" y="2264257"/>
                  <a:pt x="28107" y="2259280"/>
                </a:cubicBezTo>
                <a:cubicBezTo>
                  <a:pt x="28107" y="2259280"/>
                  <a:pt x="28107" y="2259280"/>
                  <a:pt x="426115" y="0"/>
                </a:cubicBezTo>
                <a:close/>
              </a:path>
            </a:pathLst>
          </a:custGeom>
        </p:spPr>
        <p:txBody>
          <a:bodyPr wrap="square" tIns="180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A4DE77-9882-E7B6-8FB7-7ECB44BA0D8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722109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0337593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gradient on a white background&#10;&#10;Description automatically generated">
            <a:extLst>
              <a:ext uri="{FF2B5EF4-FFF2-40B4-BE49-F238E27FC236}">
                <a16:creationId xmlns:a16="http://schemas.microsoft.com/office/drawing/2014/main" id="{BE488759-E3E9-A6FC-71CC-4B41E86D47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86856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EB4079-A5FD-C3C8-29D8-4AFFAD91CC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814479" cy="5895975"/>
          </a:xfrm>
          <a:custGeom>
            <a:avLst/>
            <a:gdLst>
              <a:gd name="connsiteX0" fmla="*/ 2035735 w 3796509"/>
              <a:gd name="connsiteY0" fmla="*/ 0 h 3849721"/>
              <a:gd name="connsiteX1" fmla="*/ 3026232 w 3796509"/>
              <a:gd name="connsiteY1" fmla="*/ 0 h 3849721"/>
              <a:gd name="connsiteX2" fmla="*/ 3033499 w 3796509"/>
              <a:gd name="connsiteY2" fmla="*/ 9346 h 3849721"/>
              <a:gd name="connsiteX3" fmla="*/ 3036614 w 3796509"/>
              <a:gd name="connsiteY3" fmla="*/ 13500 h 3849721"/>
              <a:gd name="connsiteX4" fmla="*/ 3043882 w 3796509"/>
              <a:gd name="connsiteY4" fmla="*/ 23884 h 3849721"/>
              <a:gd name="connsiteX5" fmla="*/ 3048035 w 3796509"/>
              <a:gd name="connsiteY5" fmla="*/ 29076 h 3849721"/>
              <a:gd name="connsiteX6" fmla="*/ 3061532 w 3796509"/>
              <a:gd name="connsiteY6" fmla="*/ 49844 h 3849721"/>
              <a:gd name="connsiteX7" fmla="*/ 3063609 w 3796509"/>
              <a:gd name="connsiteY7" fmla="*/ 52960 h 3849721"/>
              <a:gd name="connsiteX8" fmla="*/ 3079183 w 3796509"/>
              <a:gd name="connsiteY8" fmla="*/ 77882 h 3849721"/>
              <a:gd name="connsiteX9" fmla="*/ 3711481 w 3796509"/>
              <a:gd name="connsiteY9" fmla="*/ 1173416 h 3849721"/>
              <a:gd name="connsiteX10" fmla="*/ 3767547 w 3796509"/>
              <a:gd name="connsiteY10" fmla="*/ 1678089 h 3849721"/>
              <a:gd name="connsiteX11" fmla="*/ 3478911 w 3796509"/>
              <a:gd name="connsiteY11" fmla="*/ 2038421 h 3849721"/>
              <a:gd name="connsiteX12" fmla="*/ 3164320 w 3796509"/>
              <a:gd name="connsiteY12" fmla="*/ 2555555 h 3849721"/>
              <a:gd name="connsiteX13" fmla="*/ 2995084 w 3796509"/>
              <a:gd name="connsiteY13" fmla="*/ 3217030 h 3849721"/>
              <a:gd name="connsiteX14" fmla="*/ 1266387 w 3796509"/>
              <a:gd name="connsiteY14" fmla="*/ 3680166 h 3849721"/>
              <a:gd name="connsiteX15" fmla="*/ 634089 w 3796509"/>
              <a:gd name="connsiteY15" fmla="*/ 2629283 h 3849721"/>
              <a:gd name="connsiteX16" fmla="*/ 633051 w 3796509"/>
              <a:gd name="connsiteY16" fmla="*/ 2586708 h 3849721"/>
              <a:gd name="connsiteX17" fmla="*/ 430591 w 3796509"/>
              <a:gd name="connsiteY17" fmla="*/ 2123572 h 3849721"/>
              <a:gd name="connsiteX18" fmla="*/ 348569 w 3796509"/>
              <a:gd name="connsiteY18" fmla="*/ 2058151 h 3849721"/>
              <a:gd name="connsiteX19" fmla="*/ 345454 w 3796509"/>
              <a:gd name="connsiteY19" fmla="*/ 2056075 h 3849721"/>
              <a:gd name="connsiteX20" fmla="*/ 334033 w 3796509"/>
              <a:gd name="connsiteY20" fmla="*/ 2048806 h 3849721"/>
              <a:gd name="connsiteX21" fmla="*/ 317421 w 3796509"/>
              <a:gd name="connsiteY21" fmla="*/ 2039460 h 3849721"/>
              <a:gd name="connsiteX22" fmla="*/ 84851 w 3796509"/>
              <a:gd name="connsiteY22" fmla="*/ 1173416 h 3849721"/>
              <a:gd name="connsiteX23" fmla="*/ 948681 w 3796509"/>
              <a:gd name="connsiteY23" fmla="*/ 941848 h 3849721"/>
              <a:gd name="connsiteX24" fmla="*/ 1265349 w 3796509"/>
              <a:gd name="connsiteY24" fmla="*/ 1026999 h 3849721"/>
              <a:gd name="connsiteX25" fmla="*/ 1897647 w 3796509"/>
              <a:gd name="connsiteY25" fmla="*/ 395639 h 3849721"/>
              <a:gd name="connsiteX26" fmla="*/ 2035735 w 3796509"/>
              <a:gd name="connsiteY26" fmla="*/ 0 h 384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796509" h="3849721">
                <a:moveTo>
                  <a:pt x="2035735" y="0"/>
                </a:moveTo>
                <a:cubicBezTo>
                  <a:pt x="2035735" y="0"/>
                  <a:pt x="2035735" y="0"/>
                  <a:pt x="3026232" y="0"/>
                </a:cubicBezTo>
                <a:cubicBezTo>
                  <a:pt x="3028308" y="3115"/>
                  <a:pt x="3031423" y="6231"/>
                  <a:pt x="3033499" y="9346"/>
                </a:cubicBezTo>
                <a:cubicBezTo>
                  <a:pt x="3034538" y="11423"/>
                  <a:pt x="3035576" y="12461"/>
                  <a:pt x="3036614" y="13500"/>
                </a:cubicBezTo>
                <a:cubicBezTo>
                  <a:pt x="3039729" y="16615"/>
                  <a:pt x="3041805" y="20769"/>
                  <a:pt x="3043882" y="23884"/>
                </a:cubicBezTo>
                <a:cubicBezTo>
                  <a:pt x="3045958" y="25961"/>
                  <a:pt x="3046997" y="26999"/>
                  <a:pt x="3048035" y="29076"/>
                </a:cubicBezTo>
                <a:cubicBezTo>
                  <a:pt x="3052188" y="36345"/>
                  <a:pt x="3057379" y="42575"/>
                  <a:pt x="3061532" y="49844"/>
                </a:cubicBezTo>
                <a:cubicBezTo>
                  <a:pt x="3062571" y="50883"/>
                  <a:pt x="3063609" y="51921"/>
                  <a:pt x="3063609" y="52960"/>
                </a:cubicBezTo>
                <a:cubicBezTo>
                  <a:pt x="3068800" y="61267"/>
                  <a:pt x="3073991" y="69574"/>
                  <a:pt x="3079183" y="77882"/>
                </a:cubicBezTo>
                <a:cubicBezTo>
                  <a:pt x="3079183" y="77882"/>
                  <a:pt x="3079183" y="77882"/>
                  <a:pt x="3711481" y="1173416"/>
                </a:cubicBezTo>
                <a:cubicBezTo>
                  <a:pt x="3796618" y="1321911"/>
                  <a:pt x="3822574" y="1502596"/>
                  <a:pt x="3767547" y="1678089"/>
                </a:cubicBezTo>
                <a:cubicBezTo>
                  <a:pt x="3718748" y="1836968"/>
                  <a:pt x="3612846" y="1961578"/>
                  <a:pt x="3478911" y="2038421"/>
                </a:cubicBezTo>
                <a:cubicBezTo>
                  <a:pt x="3286834" y="2150571"/>
                  <a:pt x="3174702" y="2347871"/>
                  <a:pt x="3164320" y="2555555"/>
                </a:cubicBezTo>
                <a:cubicBezTo>
                  <a:pt x="3169511" y="2779854"/>
                  <a:pt x="3115522" y="3008307"/>
                  <a:pt x="2995084" y="3217030"/>
                </a:cubicBezTo>
                <a:cubicBezTo>
                  <a:pt x="2645191" y="3822429"/>
                  <a:pt x="1871691" y="4029075"/>
                  <a:pt x="1266387" y="3680166"/>
                </a:cubicBezTo>
                <a:cubicBezTo>
                  <a:pt x="874965" y="3453790"/>
                  <a:pt x="649663" y="3049844"/>
                  <a:pt x="634089" y="2629283"/>
                </a:cubicBezTo>
                <a:cubicBezTo>
                  <a:pt x="633051" y="2614745"/>
                  <a:pt x="633051" y="2601246"/>
                  <a:pt x="633051" y="2586708"/>
                </a:cubicBezTo>
                <a:cubicBezTo>
                  <a:pt x="633051" y="2403946"/>
                  <a:pt x="555182" y="2238837"/>
                  <a:pt x="430591" y="2123572"/>
                </a:cubicBezTo>
                <a:cubicBezTo>
                  <a:pt x="405673" y="2099688"/>
                  <a:pt x="377640" y="2077881"/>
                  <a:pt x="348569" y="2058151"/>
                </a:cubicBezTo>
                <a:cubicBezTo>
                  <a:pt x="347530" y="2058151"/>
                  <a:pt x="346492" y="2057113"/>
                  <a:pt x="345454" y="2056075"/>
                </a:cubicBezTo>
                <a:cubicBezTo>
                  <a:pt x="341301" y="2053998"/>
                  <a:pt x="337148" y="2050882"/>
                  <a:pt x="334033" y="2048806"/>
                </a:cubicBezTo>
                <a:cubicBezTo>
                  <a:pt x="328842" y="2045690"/>
                  <a:pt x="322612" y="2042575"/>
                  <a:pt x="317421" y="2039460"/>
                </a:cubicBezTo>
                <a:cubicBezTo>
                  <a:pt x="15288" y="1865005"/>
                  <a:pt x="-90614" y="1476635"/>
                  <a:pt x="84851" y="1173416"/>
                </a:cubicBezTo>
                <a:cubicBezTo>
                  <a:pt x="259279" y="871236"/>
                  <a:pt x="646548" y="767394"/>
                  <a:pt x="948681" y="941848"/>
                </a:cubicBezTo>
                <a:cubicBezTo>
                  <a:pt x="1042124" y="995846"/>
                  <a:pt x="1151141" y="1026999"/>
                  <a:pt x="1265349" y="1026999"/>
                </a:cubicBezTo>
                <a:cubicBezTo>
                  <a:pt x="1614203" y="1026999"/>
                  <a:pt x="1897647" y="744548"/>
                  <a:pt x="1897647" y="395639"/>
                </a:cubicBezTo>
                <a:cubicBezTo>
                  <a:pt x="1897647" y="253375"/>
                  <a:pt x="1946445" y="113188"/>
                  <a:pt x="2035735" y="0"/>
                </a:cubicBezTo>
                <a:close/>
              </a:path>
            </a:pathLst>
          </a:custGeom>
        </p:spPr>
        <p:txBody>
          <a:bodyPr wrap="square" tIns="21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1006595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B1A874DA-2624-30D0-FB18-BB1F902853B0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624878" y="0"/>
            <a:ext cx="5567122" cy="6858000"/>
          </a:xfrm>
          <a:custGeom>
            <a:avLst/>
            <a:gdLst>
              <a:gd name="connsiteX0" fmla="*/ 1285861 w 2649538"/>
              <a:gd name="connsiteY0" fmla="*/ 0 h 3263900"/>
              <a:gd name="connsiteX1" fmla="*/ 2117666 w 2649538"/>
              <a:gd name="connsiteY1" fmla="*/ 0 h 3263900"/>
              <a:gd name="connsiteX2" fmla="*/ 2249879 w 2649538"/>
              <a:gd name="connsiteY2" fmla="*/ 154884 h 3263900"/>
              <a:gd name="connsiteX3" fmla="*/ 2252145 w 2649538"/>
              <a:gd name="connsiteY3" fmla="*/ 158662 h 3263900"/>
              <a:gd name="connsiteX4" fmla="*/ 2257433 w 2649538"/>
              <a:gd name="connsiteY4" fmla="*/ 168484 h 3263900"/>
              <a:gd name="connsiteX5" fmla="*/ 2259700 w 2649538"/>
              <a:gd name="connsiteY5" fmla="*/ 172261 h 3263900"/>
              <a:gd name="connsiteX6" fmla="*/ 2339027 w 2649538"/>
              <a:gd name="connsiteY6" fmla="*/ 477497 h 3263900"/>
              <a:gd name="connsiteX7" fmla="*/ 2259700 w 2649538"/>
              <a:gd name="connsiteY7" fmla="*/ 781976 h 3263900"/>
              <a:gd name="connsiteX8" fmla="*/ 2249879 w 2649538"/>
              <a:gd name="connsiteY8" fmla="*/ 799353 h 3263900"/>
              <a:gd name="connsiteX9" fmla="*/ 2170551 w 2649538"/>
              <a:gd name="connsiteY9" fmla="*/ 1103833 h 3263900"/>
              <a:gd name="connsiteX10" fmla="*/ 2249879 w 2649538"/>
              <a:gd name="connsiteY10" fmla="*/ 1409068 h 3263900"/>
              <a:gd name="connsiteX11" fmla="*/ 2259700 w 2649538"/>
              <a:gd name="connsiteY11" fmla="*/ 1425690 h 3263900"/>
              <a:gd name="connsiteX12" fmla="*/ 2649538 w 2649538"/>
              <a:gd name="connsiteY12" fmla="*/ 1712792 h 3263900"/>
              <a:gd name="connsiteX13" fmla="*/ 2649538 w 2649538"/>
              <a:gd name="connsiteY13" fmla="*/ 3263900 h 3263900"/>
              <a:gd name="connsiteX14" fmla="*/ 942108 w 2649538"/>
              <a:gd name="connsiteY14" fmla="*/ 3263900 h 3263900"/>
              <a:gd name="connsiteX15" fmla="*/ 323354 w 2649538"/>
              <a:gd name="connsiteY15" fmla="*/ 2905778 h 3263900"/>
              <a:gd name="connsiteX16" fmla="*/ 0 w 2649538"/>
              <a:gd name="connsiteY16" fmla="*/ 2357261 h 3263900"/>
              <a:gd name="connsiteX17" fmla="*/ 0 w 2649538"/>
              <a:gd name="connsiteY17" fmla="*/ 2349706 h 3263900"/>
              <a:gd name="connsiteX18" fmla="*/ 77061 w 2649538"/>
              <a:gd name="connsiteY18" fmla="*/ 2055804 h 3263900"/>
              <a:gd name="connsiteX19" fmla="*/ 90660 w 2649538"/>
              <a:gd name="connsiteY19" fmla="*/ 2032382 h 3263900"/>
              <a:gd name="connsiteX20" fmla="*/ 167721 w 2649538"/>
              <a:gd name="connsiteY20" fmla="*/ 1730925 h 3263900"/>
              <a:gd name="connsiteX21" fmla="*/ 90660 w 2649538"/>
              <a:gd name="connsiteY21" fmla="*/ 1429468 h 3263900"/>
              <a:gd name="connsiteX22" fmla="*/ 77061 w 2649538"/>
              <a:gd name="connsiteY22" fmla="*/ 1406046 h 3263900"/>
              <a:gd name="connsiteX23" fmla="*/ 0 w 2649538"/>
              <a:gd name="connsiteY23" fmla="*/ 1111388 h 3263900"/>
              <a:gd name="connsiteX24" fmla="*/ 0 w 2649538"/>
              <a:gd name="connsiteY24" fmla="*/ 1103833 h 3263900"/>
              <a:gd name="connsiteX25" fmla="*/ 323354 w 2649538"/>
              <a:gd name="connsiteY25" fmla="*/ 555316 h 3263900"/>
              <a:gd name="connsiteX26" fmla="*/ 1285861 w 2649538"/>
              <a:gd name="connsiteY26" fmla="*/ 0 h 326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649538" h="3263900">
                <a:moveTo>
                  <a:pt x="1285861" y="0"/>
                </a:moveTo>
                <a:cubicBezTo>
                  <a:pt x="1285861" y="0"/>
                  <a:pt x="1285861" y="0"/>
                  <a:pt x="2117666" y="0"/>
                </a:cubicBezTo>
                <a:cubicBezTo>
                  <a:pt x="2169795" y="43821"/>
                  <a:pt x="2214370" y="96708"/>
                  <a:pt x="2249879" y="154884"/>
                </a:cubicBezTo>
                <a:cubicBezTo>
                  <a:pt x="2250634" y="156395"/>
                  <a:pt x="2251389" y="157151"/>
                  <a:pt x="2252145" y="158662"/>
                </a:cubicBezTo>
                <a:cubicBezTo>
                  <a:pt x="2253656" y="161684"/>
                  <a:pt x="2255923" y="164706"/>
                  <a:pt x="2257433" y="168484"/>
                </a:cubicBezTo>
                <a:cubicBezTo>
                  <a:pt x="2258189" y="169995"/>
                  <a:pt x="2258945" y="170750"/>
                  <a:pt x="2259700" y="172261"/>
                </a:cubicBezTo>
                <a:cubicBezTo>
                  <a:pt x="2310319" y="262925"/>
                  <a:pt x="2339027" y="366433"/>
                  <a:pt x="2339027" y="477497"/>
                </a:cubicBezTo>
                <a:cubicBezTo>
                  <a:pt x="2339027" y="587804"/>
                  <a:pt x="2310319" y="692068"/>
                  <a:pt x="2259700" y="781976"/>
                </a:cubicBezTo>
                <a:cubicBezTo>
                  <a:pt x="2256678" y="788020"/>
                  <a:pt x="2253656" y="793309"/>
                  <a:pt x="2249879" y="799353"/>
                </a:cubicBezTo>
                <a:cubicBezTo>
                  <a:pt x="2199260" y="889262"/>
                  <a:pt x="2170551" y="993525"/>
                  <a:pt x="2170551" y="1103833"/>
                </a:cubicBezTo>
                <a:cubicBezTo>
                  <a:pt x="2170551" y="1214896"/>
                  <a:pt x="2199260" y="1318404"/>
                  <a:pt x="2249879" y="1409068"/>
                </a:cubicBezTo>
                <a:cubicBezTo>
                  <a:pt x="2253656" y="1414357"/>
                  <a:pt x="2256678" y="1420401"/>
                  <a:pt x="2259700" y="1425690"/>
                </a:cubicBezTo>
                <a:cubicBezTo>
                  <a:pt x="2345071" y="1567730"/>
                  <a:pt x="2484839" y="1673504"/>
                  <a:pt x="2649538" y="1712792"/>
                </a:cubicBezTo>
                <a:lnTo>
                  <a:pt x="2649538" y="3263900"/>
                </a:lnTo>
                <a:cubicBezTo>
                  <a:pt x="2649538" y="3263900"/>
                  <a:pt x="2649538" y="3263900"/>
                  <a:pt x="942108" y="3263900"/>
                </a:cubicBezTo>
                <a:cubicBezTo>
                  <a:pt x="942108" y="3263900"/>
                  <a:pt x="942108" y="3263900"/>
                  <a:pt x="323354" y="2905778"/>
                </a:cubicBezTo>
                <a:cubicBezTo>
                  <a:pt x="129946" y="2799248"/>
                  <a:pt x="0" y="2593743"/>
                  <a:pt x="0" y="2357261"/>
                </a:cubicBezTo>
                <a:cubicBezTo>
                  <a:pt x="0" y="2357261"/>
                  <a:pt x="0" y="2357261"/>
                  <a:pt x="0" y="2349706"/>
                </a:cubicBezTo>
                <a:cubicBezTo>
                  <a:pt x="756" y="2243176"/>
                  <a:pt x="28709" y="2143446"/>
                  <a:pt x="77061" y="2055804"/>
                </a:cubicBezTo>
                <a:cubicBezTo>
                  <a:pt x="81594" y="2048249"/>
                  <a:pt x="85372" y="2039938"/>
                  <a:pt x="90660" y="2032382"/>
                </a:cubicBezTo>
                <a:cubicBezTo>
                  <a:pt x="139768" y="1943230"/>
                  <a:pt x="167721" y="1839722"/>
                  <a:pt x="167721" y="1730925"/>
                </a:cubicBezTo>
                <a:cubicBezTo>
                  <a:pt x="167721" y="1621373"/>
                  <a:pt x="139768" y="1518620"/>
                  <a:pt x="90660" y="1429468"/>
                </a:cubicBezTo>
                <a:cubicBezTo>
                  <a:pt x="85372" y="1421157"/>
                  <a:pt x="81594" y="1413601"/>
                  <a:pt x="77061" y="1406046"/>
                </a:cubicBezTo>
                <a:cubicBezTo>
                  <a:pt x="28709" y="1318404"/>
                  <a:pt x="756" y="1217918"/>
                  <a:pt x="0" y="1111388"/>
                </a:cubicBezTo>
                <a:cubicBezTo>
                  <a:pt x="0" y="1111388"/>
                  <a:pt x="0" y="1111388"/>
                  <a:pt x="0" y="1103833"/>
                </a:cubicBezTo>
                <a:cubicBezTo>
                  <a:pt x="0" y="868107"/>
                  <a:pt x="129946" y="662602"/>
                  <a:pt x="323354" y="555316"/>
                </a:cubicBezTo>
                <a:cubicBezTo>
                  <a:pt x="815940" y="271236"/>
                  <a:pt x="855981" y="247815"/>
                  <a:pt x="1285861" y="0"/>
                </a:cubicBezTo>
                <a:close/>
              </a:path>
            </a:pathLst>
          </a:custGeom>
        </p:spPr>
        <p:txBody>
          <a:bodyPr wrap="square" tIns="234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085689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yellow and orange balloon&#10;&#10;Description automatically generated">
            <a:extLst>
              <a:ext uri="{FF2B5EF4-FFF2-40B4-BE49-F238E27FC236}">
                <a16:creationId xmlns:a16="http://schemas.microsoft.com/office/drawing/2014/main" id="{34032CAB-E697-0EB5-3A72-119C2294E4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1"/>
          <a:stretch/>
        </p:blipFill>
        <p:spPr>
          <a:xfrm>
            <a:off x="7338727" y="-1"/>
            <a:ext cx="4853273" cy="685800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835594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4561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50955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de-DE"/>
              <a:t>Diagramm durch Klicken auf Symbol hinzufügen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55466171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de-DE"/>
              <a:t>Tabelle durch Klicken auf Symbol hinzufügen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34895045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40210906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299143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olorful background with a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EAAADDCE-325A-64FA-E1F0-74611D7996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761" y="0"/>
            <a:ext cx="538323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736441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369C37-70C6-FCF2-DB71-DC0419FDC4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371552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619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orange logo&#10;&#10;Description automatically generated with medium confidence">
            <a:extLst>
              <a:ext uri="{FF2B5EF4-FFF2-40B4-BE49-F238E27FC236}">
                <a16:creationId xmlns:a16="http://schemas.microsoft.com/office/drawing/2014/main" id="{D1EAC1AC-EEBE-D382-F66C-C7D0E767E6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494" y="0"/>
            <a:ext cx="5687505" cy="6081941"/>
          </a:xfrm>
          <a:prstGeom prst="rect">
            <a:avLst/>
          </a:prstGeom>
        </p:spPr>
      </p:pic>
      <p:sp>
        <p:nvSpPr>
          <p:cNvPr id="3" name="Picture Placeholder 17">
            <a:extLst>
              <a:ext uri="{FF2B5EF4-FFF2-40B4-BE49-F238E27FC236}">
                <a16:creationId xmlns:a16="http://schemas.microsoft.com/office/drawing/2014/main" id="{AB93F112-F5A8-1616-4D16-ECB2D1CC908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58520" y="1823213"/>
            <a:ext cx="3533479" cy="5030026"/>
          </a:xfrm>
          <a:custGeom>
            <a:avLst/>
            <a:gdLst>
              <a:gd name="connsiteX0" fmla="*/ 3066855 w 3068236"/>
              <a:gd name="connsiteY0" fmla="*/ 0 h 4367737"/>
              <a:gd name="connsiteX1" fmla="*/ 3068236 w 3068236"/>
              <a:gd name="connsiteY1" fmla="*/ 0 h 4367737"/>
              <a:gd name="connsiteX2" fmla="*/ 3068236 w 3068236"/>
              <a:gd name="connsiteY2" fmla="*/ 4367737 h 4367737"/>
              <a:gd name="connsiteX3" fmla="*/ 1362126 w 3068236"/>
              <a:gd name="connsiteY3" fmla="*/ 4367737 h 4367737"/>
              <a:gd name="connsiteX4" fmla="*/ 951830 w 3068236"/>
              <a:gd name="connsiteY4" fmla="*/ 3609871 h 4367737"/>
              <a:gd name="connsiteX5" fmla="*/ 936634 w 3068236"/>
              <a:gd name="connsiteY5" fmla="*/ 3590545 h 4367737"/>
              <a:gd name="connsiteX6" fmla="*/ 909005 w 3068236"/>
              <a:gd name="connsiteY6" fmla="*/ 3557414 h 4367737"/>
              <a:gd name="connsiteX7" fmla="*/ 896572 w 3068236"/>
              <a:gd name="connsiteY7" fmla="*/ 3542229 h 4367737"/>
              <a:gd name="connsiteX8" fmla="*/ 864798 w 3068236"/>
              <a:gd name="connsiteY8" fmla="*/ 3502196 h 4367737"/>
              <a:gd name="connsiteX9" fmla="*/ 856509 w 3068236"/>
              <a:gd name="connsiteY9" fmla="*/ 3491153 h 4367737"/>
              <a:gd name="connsiteX10" fmla="*/ 817828 w 3068236"/>
              <a:gd name="connsiteY10" fmla="*/ 3440076 h 4367737"/>
              <a:gd name="connsiteX11" fmla="*/ 816447 w 3068236"/>
              <a:gd name="connsiteY11" fmla="*/ 3438696 h 4367737"/>
              <a:gd name="connsiteX12" fmla="*/ 779147 w 3068236"/>
              <a:gd name="connsiteY12" fmla="*/ 3389000 h 4367737"/>
              <a:gd name="connsiteX13" fmla="*/ 768095 w 3068236"/>
              <a:gd name="connsiteY13" fmla="*/ 3373815 h 4367737"/>
              <a:gd name="connsiteX14" fmla="*/ 741847 w 3068236"/>
              <a:gd name="connsiteY14" fmla="*/ 3337923 h 4367737"/>
              <a:gd name="connsiteX15" fmla="*/ 728033 w 3068236"/>
              <a:gd name="connsiteY15" fmla="*/ 3318597 h 4367737"/>
              <a:gd name="connsiteX16" fmla="*/ 704548 w 3068236"/>
              <a:gd name="connsiteY16" fmla="*/ 3284086 h 4367737"/>
              <a:gd name="connsiteX17" fmla="*/ 690733 w 3068236"/>
              <a:gd name="connsiteY17" fmla="*/ 3263379 h 4367737"/>
              <a:gd name="connsiteX18" fmla="*/ 670011 w 3068236"/>
              <a:gd name="connsiteY18" fmla="*/ 3231629 h 4367737"/>
              <a:gd name="connsiteX19" fmla="*/ 654815 w 3068236"/>
              <a:gd name="connsiteY19" fmla="*/ 3209541 h 4367737"/>
              <a:gd name="connsiteX20" fmla="*/ 634093 w 3068236"/>
              <a:gd name="connsiteY20" fmla="*/ 3177791 h 4367737"/>
              <a:gd name="connsiteX21" fmla="*/ 620278 w 3068236"/>
              <a:gd name="connsiteY21" fmla="*/ 3154323 h 4367737"/>
              <a:gd name="connsiteX22" fmla="*/ 599556 w 3068236"/>
              <a:gd name="connsiteY22" fmla="*/ 3122573 h 4367737"/>
              <a:gd name="connsiteX23" fmla="*/ 585742 w 3068236"/>
              <a:gd name="connsiteY23" fmla="*/ 3099106 h 4367737"/>
              <a:gd name="connsiteX24" fmla="*/ 566401 w 3068236"/>
              <a:gd name="connsiteY24" fmla="*/ 3067355 h 4367737"/>
              <a:gd name="connsiteX25" fmla="*/ 552587 w 3068236"/>
              <a:gd name="connsiteY25" fmla="*/ 3042507 h 4367737"/>
              <a:gd name="connsiteX26" fmla="*/ 534628 w 3068236"/>
              <a:gd name="connsiteY26" fmla="*/ 3012137 h 4367737"/>
              <a:gd name="connsiteX27" fmla="*/ 519431 w 3068236"/>
              <a:gd name="connsiteY27" fmla="*/ 2985909 h 4367737"/>
              <a:gd name="connsiteX28" fmla="*/ 502854 w 3068236"/>
              <a:gd name="connsiteY28" fmla="*/ 2955539 h 4367737"/>
              <a:gd name="connsiteX29" fmla="*/ 489039 w 3068236"/>
              <a:gd name="connsiteY29" fmla="*/ 2929310 h 4367737"/>
              <a:gd name="connsiteX30" fmla="*/ 472462 w 3068236"/>
              <a:gd name="connsiteY30" fmla="*/ 2898941 h 4367737"/>
              <a:gd name="connsiteX31" fmla="*/ 458647 w 3068236"/>
              <a:gd name="connsiteY31" fmla="*/ 2871332 h 4367737"/>
              <a:gd name="connsiteX32" fmla="*/ 442069 w 3068236"/>
              <a:gd name="connsiteY32" fmla="*/ 2840962 h 4367737"/>
              <a:gd name="connsiteX33" fmla="*/ 428255 w 3068236"/>
              <a:gd name="connsiteY33" fmla="*/ 2813353 h 4367737"/>
              <a:gd name="connsiteX34" fmla="*/ 413058 w 3068236"/>
              <a:gd name="connsiteY34" fmla="*/ 2782983 h 4367737"/>
              <a:gd name="connsiteX35" fmla="*/ 399244 w 3068236"/>
              <a:gd name="connsiteY35" fmla="*/ 2755374 h 4367737"/>
              <a:gd name="connsiteX36" fmla="*/ 384048 w 3068236"/>
              <a:gd name="connsiteY36" fmla="*/ 2723624 h 4367737"/>
              <a:gd name="connsiteX37" fmla="*/ 371614 w 3068236"/>
              <a:gd name="connsiteY37" fmla="*/ 2696015 h 4367737"/>
              <a:gd name="connsiteX38" fmla="*/ 357800 w 3068236"/>
              <a:gd name="connsiteY38" fmla="*/ 2664264 h 4367737"/>
              <a:gd name="connsiteX39" fmla="*/ 345367 w 3068236"/>
              <a:gd name="connsiteY39" fmla="*/ 2635275 h 4367737"/>
              <a:gd name="connsiteX40" fmla="*/ 331552 w 3068236"/>
              <a:gd name="connsiteY40" fmla="*/ 2604905 h 4367737"/>
              <a:gd name="connsiteX41" fmla="*/ 319119 w 3068236"/>
              <a:gd name="connsiteY41" fmla="*/ 2575916 h 4367737"/>
              <a:gd name="connsiteX42" fmla="*/ 305304 w 3068236"/>
              <a:gd name="connsiteY42" fmla="*/ 2544166 h 4367737"/>
              <a:gd name="connsiteX43" fmla="*/ 294252 w 3068236"/>
              <a:gd name="connsiteY43" fmla="*/ 2515176 h 4367737"/>
              <a:gd name="connsiteX44" fmla="*/ 281819 w 3068236"/>
              <a:gd name="connsiteY44" fmla="*/ 2482045 h 4367737"/>
              <a:gd name="connsiteX45" fmla="*/ 269386 w 3068236"/>
              <a:gd name="connsiteY45" fmla="*/ 2453056 h 4367737"/>
              <a:gd name="connsiteX46" fmla="*/ 256953 w 3068236"/>
              <a:gd name="connsiteY46" fmla="*/ 2421306 h 4367737"/>
              <a:gd name="connsiteX47" fmla="*/ 245901 w 3068236"/>
              <a:gd name="connsiteY47" fmla="*/ 2390936 h 4367737"/>
              <a:gd name="connsiteX48" fmla="*/ 234849 w 3068236"/>
              <a:gd name="connsiteY48" fmla="*/ 2359186 h 4367737"/>
              <a:gd name="connsiteX49" fmla="*/ 223798 w 3068236"/>
              <a:gd name="connsiteY49" fmla="*/ 2328816 h 4367737"/>
              <a:gd name="connsiteX50" fmla="*/ 214127 w 3068236"/>
              <a:gd name="connsiteY50" fmla="*/ 2297065 h 4367737"/>
              <a:gd name="connsiteX51" fmla="*/ 203076 w 3068236"/>
              <a:gd name="connsiteY51" fmla="*/ 2265315 h 4367737"/>
              <a:gd name="connsiteX52" fmla="*/ 193405 w 3068236"/>
              <a:gd name="connsiteY52" fmla="*/ 2233565 h 4367737"/>
              <a:gd name="connsiteX53" fmla="*/ 182354 w 3068236"/>
              <a:gd name="connsiteY53" fmla="*/ 2201814 h 4367737"/>
              <a:gd name="connsiteX54" fmla="*/ 172683 w 3068236"/>
              <a:gd name="connsiteY54" fmla="*/ 2170064 h 4367737"/>
              <a:gd name="connsiteX55" fmla="*/ 163013 w 3068236"/>
              <a:gd name="connsiteY55" fmla="*/ 2136933 h 4367737"/>
              <a:gd name="connsiteX56" fmla="*/ 154724 w 3068236"/>
              <a:gd name="connsiteY56" fmla="*/ 2107944 h 4367737"/>
              <a:gd name="connsiteX57" fmla="*/ 145054 w 3068236"/>
              <a:gd name="connsiteY57" fmla="*/ 2072052 h 4367737"/>
              <a:gd name="connsiteX58" fmla="*/ 138147 w 3068236"/>
              <a:gd name="connsiteY58" fmla="*/ 2044443 h 4367737"/>
              <a:gd name="connsiteX59" fmla="*/ 127095 w 3068236"/>
              <a:gd name="connsiteY59" fmla="*/ 2007171 h 4367737"/>
              <a:gd name="connsiteX60" fmla="*/ 121569 w 3068236"/>
              <a:gd name="connsiteY60" fmla="*/ 1985084 h 4367737"/>
              <a:gd name="connsiteX61" fmla="*/ 96703 w 3068236"/>
              <a:gd name="connsiteY61" fmla="*/ 1876029 h 4367737"/>
              <a:gd name="connsiteX62" fmla="*/ 93940 w 3068236"/>
              <a:gd name="connsiteY62" fmla="*/ 1863605 h 4367737"/>
              <a:gd name="connsiteX63" fmla="*/ 87032 w 3068236"/>
              <a:gd name="connsiteY63" fmla="*/ 1833235 h 4367737"/>
              <a:gd name="connsiteX64" fmla="*/ 82888 w 3068236"/>
              <a:gd name="connsiteY64" fmla="*/ 1813909 h 4367737"/>
              <a:gd name="connsiteX65" fmla="*/ 77362 w 3068236"/>
              <a:gd name="connsiteY65" fmla="*/ 1786300 h 4367737"/>
              <a:gd name="connsiteX66" fmla="*/ 74599 w 3068236"/>
              <a:gd name="connsiteY66" fmla="*/ 1769734 h 4367737"/>
              <a:gd name="connsiteX67" fmla="*/ 66310 w 3068236"/>
              <a:gd name="connsiteY67" fmla="*/ 1728321 h 4367737"/>
              <a:gd name="connsiteX68" fmla="*/ 63548 w 3068236"/>
              <a:gd name="connsiteY68" fmla="*/ 1710375 h 4367737"/>
              <a:gd name="connsiteX69" fmla="*/ 58022 w 3068236"/>
              <a:gd name="connsiteY69" fmla="*/ 1682766 h 4367737"/>
              <a:gd name="connsiteX70" fmla="*/ 55259 w 3068236"/>
              <a:gd name="connsiteY70" fmla="*/ 1664820 h 4367737"/>
              <a:gd name="connsiteX71" fmla="*/ 48351 w 3068236"/>
              <a:gd name="connsiteY71" fmla="*/ 1623407 h 4367737"/>
              <a:gd name="connsiteX72" fmla="*/ 46970 w 3068236"/>
              <a:gd name="connsiteY72" fmla="*/ 1609602 h 4367737"/>
              <a:gd name="connsiteX73" fmla="*/ 41444 w 3068236"/>
              <a:gd name="connsiteY73" fmla="*/ 1579233 h 4367737"/>
              <a:gd name="connsiteX74" fmla="*/ 38681 w 3068236"/>
              <a:gd name="connsiteY74" fmla="*/ 1561287 h 4367737"/>
              <a:gd name="connsiteX75" fmla="*/ 34537 w 3068236"/>
              <a:gd name="connsiteY75" fmla="*/ 1529536 h 4367737"/>
              <a:gd name="connsiteX76" fmla="*/ 33155 w 3068236"/>
              <a:gd name="connsiteY76" fmla="*/ 1515732 h 4367737"/>
              <a:gd name="connsiteX77" fmla="*/ 27629 w 3068236"/>
              <a:gd name="connsiteY77" fmla="*/ 1474318 h 4367737"/>
              <a:gd name="connsiteX78" fmla="*/ 26248 w 3068236"/>
              <a:gd name="connsiteY78" fmla="*/ 1456373 h 4367737"/>
              <a:gd name="connsiteX79" fmla="*/ 23485 w 3068236"/>
              <a:gd name="connsiteY79" fmla="*/ 1428764 h 4367737"/>
              <a:gd name="connsiteX80" fmla="*/ 20722 w 3068236"/>
              <a:gd name="connsiteY80" fmla="*/ 1410818 h 4367737"/>
              <a:gd name="connsiteX81" fmla="*/ 16578 w 3068236"/>
              <a:gd name="connsiteY81" fmla="*/ 1370785 h 4367737"/>
              <a:gd name="connsiteX82" fmla="*/ 15196 w 3068236"/>
              <a:gd name="connsiteY82" fmla="*/ 1354220 h 4367737"/>
              <a:gd name="connsiteX83" fmla="*/ 13815 w 3068236"/>
              <a:gd name="connsiteY83" fmla="*/ 1325230 h 4367737"/>
              <a:gd name="connsiteX84" fmla="*/ 11052 w 3068236"/>
              <a:gd name="connsiteY84" fmla="*/ 1307284 h 4367737"/>
              <a:gd name="connsiteX85" fmla="*/ 9670 w 3068236"/>
              <a:gd name="connsiteY85" fmla="*/ 1275534 h 4367737"/>
              <a:gd name="connsiteX86" fmla="*/ 8289 w 3068236"/>
              <a:gd name="connsiteY86" fmla="*/ 1253447 h 4367737"/>
              <a:gd name="connsiteX87" fmla="*/ 5526 w 3068236"/>
              <a:gd name="connsiteY87" fmla="*/ 1221697 h 4367737"/>
              <a:gd name="connsiteX88" fmla="*/ 5526 w 3068236"/>
              <a:gd name="connsiteY88" fmla="*/ 1202370 h 4367737"/>
              <a:gd name="connsiteX89" fmla="*/ 4145 w 3068236"/>
              <a:gd name="connsiteY89" fmla="*/ 1176142 h 4367737"/>
              <a:gd name="connsiteX90" fmla="*/ 2763 w 3068236"/>
              <a:gd name="connsiteY90" fmla="*/ 1158196 h 4367737"/>
              <a:gd name="connsiteX91" fmla="*/ 1382 w 3068236"/>
              <a:gd name="connsiteY91" fmla="*/ 1118163 h 4367737"/>
              <a:gd name="connsiteX92" fmla="*/ 1382 w 3068236"/>
              <a:gd name="connsiteY92" fmla="*/ 1098837 h 4367737"/>
              <a:gd name="connsiteX93" fmla="*/ 0 w 3068236"/>
              <a:gd name="connsiteY93" fmla="*/ 1073989 h 4367737"/>
              <a:gd name="connsiteX94" fmla="*/ 0 w 3068236"/>
              <a:gd name="connsiteY94" fmla="*/ 1054662 h 4367737"/>
              <a:gd name="connsiteX95" fmla="*/ 0 w 3068236"/>
              <a:gd name="connsiteY95" fmla="*/ 1022912 h 4367737"/>
              <a:gd name="connsiteX96" fmla="*/ 0 w 3068236"/>
              <a:gd name="connsiteY96" fmla="*/ 996684 h 4367737"/>
              <a:gd name="connsiteX97" fmla="*/ 0 w 3068236"/>
              <a:gd name="connsiteY97" fmla="*/ 971835 h 4367737"/>
              <a:gd name="connsiteX98" fmla="*/ 0 w 3068236"/>
              <a:gd name="connsiteY98" fmla="*/ 949748 h 4367737"/>
              <a:gd name="connsiteX99" fmla="*/ 0 w 3068236"/>
              <a:gd name="connsiteY99" fmla="*/ 927661 h 4367737"/>
              <a:gd name="connsiteX100" fmla="*/ 1382 w 3068236"/>
              <a:gd name="connsiteY100" fmla="*/ 895911 h 4367737"/>
              <a:gd name="connsiteX101" fmla="*/ 1382 w 3068236"/>
              <a:gd name="connsiteY101" fmla="*/ 869682 h 4367737"/>
              <a:gd name="connsiteX102" fmla="*/ 2763 w 3068236"/>
              <a:gd name="connsiteY102" fmla="*/ 847595 h 4367737"/>
              <a:gd name="connsiteX103" fmla="*/ 2763 w 3068236"/>
              <a:gd name="connsiteY103" fmla="*/ 826888 h 4367737"/>
              <a:gd name="connsiteX104" fmla="*/ 4145 w 3068236"/>
              <a:gd name="connsiteY104" fmla="*/ 803421 h 4367737"/>
              <a:gd name="connsiteX105" fmla="*/ 5526 w 3068236"/>
              <a:gd name="connsiteY105" fmla="*/ 773051 h 4367737"/>
              <a:gd name="connsiteX106" fmla="*/ 8289 w 3068236"/>
              <a:gd name="connsiteY106" fmla="*/ 744062 h 4367737"/>
              <a:gd name="connsiteX107" fmla="*/ 8289 w 3068236"/>
              <a:gd name="connsiteY107" fmla="*/ 731637 h 4367737"/>
              <a:gd name="connsiteX108" fmla="*/ 11052 w 3068236"/>
              <a:gd name="connsiteY108" fmla="*/ 733018 h 4367737"/>
              <a:gd name="connsiteX109" fmla="*/ 40063 w 3068236"/>
              <a:gd name="connsiteY109" fmla="*/ 745442 h 4367737"/>
              <a:gd name="connsiteX110" fmla="*/ 42826 w 3068236"/>
              <a:gd name="connsiteY110" fmla="*/ 746822 h 4367737"/>
              <a:gd name="connsiteX111" fmla="*/ 71836 w 3068236"/>
              <a:gd name="connsiteY111" fmla="*/ 760627 h 4367737"/>
              <a:gd name="connsiteX112" fmla="*/ 74599 w 3068236"/>
              <a:gd name="connsiteY112" fmla="*/ 762007 h 4367737"/>
              <a:gd name="connsiteX113" fmla="*/ 102229 w 3068236"/>
              <a:gd name="connsiteY113" fmla="*/ 777192 h 4367737"/>
              <a:gd name="connsiteX114" fmla="*/ 107754 w 3068236"/>
              <a:gd name="connsiteY114" fmla="*/ 778573 h 4367737"/>
              <a:gd name="connsiteX115" fmla="*/ 135384 w 3068236"/>
              <a:gd name="connsiteY115" fmla="*/ 795138 h 4367737"/>
              <a:gd name="connsiteX116" fmla="*/ 138147 w 3068236"/>
              <a:gd name="connsiteY116" fmla="*/ 796519 h 4367737"/>
              <a:gd name="connsiteX117" fmla="*/ 165776 w 3068236"/>
              <a:gd name="connsiteY117" fmla="*/ 811703 h 4367737"/>
              <a:gd name="connsiteX118" fmla="*/ 168539 w 3068236"/>
              <a:gd name="connsiteY118" fmla="*/ 813084 h 4367737"/>
              <a:gd name="connsiteX119" fmla="*/ 196168 w 3068236"/>
              <a:gd name="connsiteY119" fmla="*/ 831030 h 4367737"/>
              <a:gd name="connsiteX120" fmla="*/ 201694 w 3068236"/>
              <a:gd name="connsiteY120" fmla="*/ 833791 h 4367737"/>
              <a:gd name="connsiteX121" fmla="*/ 227942 w 3068236"/>
              <a:gd name="connsiteY121" fmla="*/ 851736 h 4367737"/>
              <a:gd name="connsiteX122" fmla="*/ 230705 w 3068236"/>
              <a:gd name="connsiteY122" fmla="*/ 853117 h 4367737"/>
              <a:gd name="connsiteX123" fmla="*/ 256953 w 3068236"/>
              <a:gd name="connsiteY123" fmla="*/ 871063 h 4367737"/>
              <a:gd name="connsiteX124" fmla="*/ 259716 w 3068236"/>
              <a:gd name="connsiteY124" fmla="*/ 873824 h 4367737"/>
              <a:gd name="connsiteX125" fmla="*/ 285964 w 3068236"/>
              <a:gd name="connsiteY125" fmla="*/ 891769 h 4367737"/>
              <a:gd name="connsiteX126" fmla="*/ 291489 w 3068236"/>
              <a:gd name="connsiteY126" fmla="*/ 895911 h 4367737"/>
              <a:gd name="connsiteX127" fmla="*/ 316356 w 3068236"/>
              <a:gd name="connsiteY127" fmla="*/ 916617 h 4367737"/>
              <a:gd name="connsiteX128" fmla="*/ 317737 w 3068236"/>
              <a:gd name="connsiteY128" fmla="*/ 916617 h 4367737"/>
              <a:gd name="connsiteX129" fmla="*/ 342604 w 3068236"/>
              <a:gd name="connsiteY129" fmla="*/ 937324 h 4367737"/>
              <a:gd name="connsiteX130" fmla="*/ 346748 w 3068236"/>
              <a:gd name="connsiteY130" fmla="*/ 941466 h 4367737"/>
              <a:gd name="connsiteX131" fmla="*/ 371614 w 3068236"/>
              <a:gd name="connsiteY131" fmla="*/ 962172 h 4367737"/>
              <a:gd name="connsiteX132" fmla="*/ 375759 w 3068236"/>
              <a:gd name="connsiteY132" fmla="*/ 966314 h 4367737"/>
              <a:gd name="connsiteX133" fmla="*/ 400625 w 3068236"/>
              <a:gd name="connsiteY133" fmla="*/ 988401 h 4367737"/>
              <a:gd name="connsiteX134" fmla="*/ 402007 w 3068236"/>
              <a:gd name="connsiteY134" fmla="*/ 989781 h 4367737"/>
              <a:gd name="connsiteX135" fmla="*/ 425492 w 3068236"/>
              <a:gd name="connsiteY135" fmla="*/ 1011868 h 4367737"/>
              <a:gd name="connsiteX136" fmla="*/ 429636 w 3068236"/>
              <a:gd name="connsiteY136" fmla="*/ 1016010 h 4367737"/>
              <a:gd name="connsiteX137" fmla="*/ 453121 w 3068236"/>
              <a:gd name="connsiteY137" fmla="*/ 1039477 h 4367737"/>
              <a:gd name="connsiteX138" fmla="*/ 457265 w 3068236"/>
              <a:gd name="connsiteY138" fmla="*/ 1044999 h 4367737"/>
              <a:gd name="connsiteX139" fmla="*/ 479369 w 3068236"/>
              <a:gd name="connsiteY139" fmla="*/ 1069847 h 4367737"/>
              <a:gd name="connsiteX140" fmla="*/ 1743410 w 3068236"/>
              <a:gd name="connsiteY140" fmla="*/ 1490884 h 4367737"/>
              <a:gd name="connsiteX141" fmla="*/ 1786236 w 3068236"/>
              <a:gd name="connsiteY141" fmla="*/ 1482601 h 4367737"/>
              <a:gd name="connsiteX142" fmla="*/ 2124695 w 3068236"/>
              <a:gd name="connsiteY142" fmla="*/ 1355600 h 4367737"/>
              <a:gd name="connsiteX143" fmla="*/ 2388555 w 3068236"/>
              <a:gd name="connsiteY143" fmla="*/ 1169240 h 4367737"/>
              <a:gd name="connsiteX144" fmla="*/ 2762932 w 3068236"/>
              <a:gd name="connsiteY144" fmla="*/ 603256 h 4367737"/>
              <a:gd name="connsiteX145" fmla="*/ 2775365 w 3068236"/>
              <a:gd name="connsiteY145" fmla="*/ 563223 h 4367737"/>
              <a:gd name="connsiteX146" fmla="*/ 3066855 w 3068236"/>
              <a:gd name="connsiteY146" fmla="*/ 80066 h 4367737"/>
              <a:gd name="connsiteX147" fmla="*/ 3066855 w 3068236"/>
              <a:gd name="connsiteY147" fmla="*/ 0 h 436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3068236" h="4367737">
                <a:moveTo>
                  <a:pt x="3066855" y="0"/>
                </a:moveTo>
                <a:lnTo>
                  <a:pt x="3068236" y="0"/>
                </a:lnTo>
                <a:cubicBezTo>
                  <a:pt x="3068236" y="0"/>
                  <a:pt x="3068236" y="0"/>
                  <a:pt x="3068236" y="4367737"/>
                </a:cubicBezTo>
                <a:cubicBezTo>
                  <a:pt x="3068236" y="4367737"/>
                  <a:pt x="3068236" y="4367737"/>
                  <a:pt x="1362126" y="4367737"/>
                </a:cubicBezTo>
                <a:cubicBezTo>
                  <a:pt x="1333115" y="4008821"/>
                  <a:pt x="951830" y="3609871"/>
                  <a:pt x="951830" y="3609871"/>
                </a:cubicBezTo>
                <a:cubicBezTo>
                  <a:pt x="947686" y="3602969"/>
                  <a:pt x="942160" y="3597447"/>
                  <a:pt x="936634" y="3590545"/>
                </a:cubicBezTo>
                <a:cubicBezTo>
                  <a:pt x="926964" y="3579501"/>
                  <a:pt x="918675" y="3568458"/>
                  <a:pt x="909005" y="3557414"/>
                </a:cubicBezTo>
                <a:cubicBezTo>
                  <a:pt x="904860" y="3551892"/>
                  <a:pt x="900716" y="3547751"/>
                  <a:pt x="896572" y="3542229"/>
                </a:cubicBezTo>
                <a:cubicBezTo>
                  <a:pt x="885520" y="3528425"/>
                  <a:pt x="874468" y="3514620"/>
                  <a:pt x="864798" y="3502196"/>
                </a:cubicBezTo>
                <a:cubicBezTo>
                  <a:pt x="862035" y="3498055"/>
                  <a:pt x="859272" y="3495294"/>
                  <a:pt x="856509" y="3491153"/>
                </a:cubicBezTo>
                <a:cubicBezTo>
                  <a:pt x="842694" y="3474587"/>
                  <a:pt x="830261" y="3458022"/>
                  <a:pt x="817828" y="3440076"/>
                </a:cubicBezTo>
                <a:cubicBezTo>
                  <a:pt x="816447" y="3440076"/>
                  <a:pt x="816447" y="3440076"/>
                  <a:pt x="816447" y="3438696"/>
                </a:cubicBezTo>
                <a:cubicBezTo>
                  <a:pt x="804013" y="3422130"/>
                  <a:pt x="791580" y="3405565"/>
                  <a:pt x="779147" y="3389000"/>
                </a:cubicBezTo>
                <a:cubicBezTo>
                  <a:pt x="775003" y="3384858"/>
                  <a:pt x="772240" y="3379336"/>
                  <a:pt x="768095" y="3373815"/>
                </a:cubicBezTo>
                <a:cubicBezTo>
                  <a:pt x="759807" y="3361391"/>
                  <a:pt x="750136" y="3348967"/>
                  <a:pt x="741847" y="3337923"/>
                </a:cubicBezTo>
                <a:cubicBezTo>
                  <a:pt x="737703" y="3331021"/>
                  <a:pt x="733559" y="3324119"/>
                  <a:pt x="728033" y="3318597"/>
                </a:cubicBezTo>
                <a:cubicBezTo>
                  <a:pt x="721125" y="3307553"/>
                  <a:pt x="712837" y="3296510"/>
                  <a:pt x="704548" y="3284086"/>
                </a:cubicBezTo>
                <a:cubicBezTo>
                  <a:pt x="700403" y="3277183"/>
                  <a:pt x="696259" y="3270281"/>
                  <a:pt x="690733" y="3263379"/>
                </a:cubicBezTo>
                <a:cubicBezTo>
                  <a:pt x="683826" y="3252335"/>
                  <a:pt x="676919" y="3242672"/>
                  <a:pt x="670011" y="3231629"/>
                </a:cubicBezTo>
                <a:cubicBezTo>
                  <a:pt x="664485" y="3223346"/>
                  <a:pt x="658960" y="3216444"/>
                  <a:pt x="654815" y="3209541"/>
                </a:cubicBezTo>
                <a:cubicBezTo>
                  <a:pt x="647908" y="3198498"/>
                  <a:pt x="641000" y="3187454"/>
                  <a:pt x="634093" y="3177791"/>
                </a:cubicBezTo>
                <a:cubicBezTo>
                  <a:pt x="629949" y="3169508"/>
                  <a:pt x="624423" y="3161226"/>
                  <a:pt x="620278" y="3154323"/>
                </a:cubicBezTo>
                <a:cubicBezTo>
                  <a:pt x="613371" y="3143280"/>
                  <a:pt x="606464" y="3133617"/>
                  <a:pt x="599556" y="3122573"/>
                </a:cubicBezTo>
                <a:cubicBezTo>
                  <a:pt x="595412" y="3114290"/>
                  <a:pt x="589886" y="3107388"/>
                  <a:pt x="585742" y="3099106"/>
                </a:cubicBezTo>
                <a:cubicBezTo>
                  <a:pt x="578834" y="3088062"/>
                  <a:pt x="573309" y="3078399"/>
                  <a:pt x="566401" y="3067355"/>
                </a:cubicBezTo>
                <a:cubicBezTo>
                  <a:pt x="562257" y="3059073"/>
                  <a:pt x="556731" y="3050790"/>
                  <a:pt x="552587" y="3042507"/>
                </a:cubicBezTo>
                <a:cubicBezTo>
                  <a:pt x="545679" y="3032844"/>
                  <a:pt x="540153" y="3021800"/>
                  <a:pt x="534628" y="3012137"/>
                </a:cubicBezTo>
                <a:cubicBezTo>
                  <a:pt x="529102" y="3003855"/>
                  <a:pt x="524957" y="2995572"/>
                  <a:pt x="519431" y="2985909"/>
                </a:cubicBezTo>
                <a:cubicBezTo>
                  <a:pt x="513905" y="2976246"/>
                  <a:pt x="508380" y="2965202"/>
                  <a:pt x="502854" y="2955539"/>
                </a:cubicBezTo>
                <a:cubicBezTo>
                  <a:pt x="497328" y="2947256"/>
                  <a:pt x="493184" y="2937593"/>
                  <a:pt x="489039" y="2929310"/>
                </a:cubicBezTo>
                <a:cubicBezTo>
                  <a:pt x="483513" y="2919647"/>
                  <a:pt x="477987" y="2908604"/>
                  <a:pt x="472462" y="2898941"/>
                </a:cubicBezTo>
                <a:cubicBezTo>
                  <a:pt x="466936" y="2889277"/>
                  <a:pt x="462791" y="2880995"/>
                  <a:pt x="458647" y="2871332"/>
                </a:cubicBezTo>
                <a:cubicBezTo>
                  <a:pt x="453121" y="2861669"/>
                  <a:pt x="447595" y="2850625"/>
                  <a:pt x="442069" y="2840962"/>
                </a:cubicBezTo>
                <a:cubicBezTo>
                  <a:pt x="437925" y="2831299"/>
                  <a:pt x="432399" y="2823016"/>
                  <a:pt x="428255" y="2813353"/>
                </a:cubicBezTo>
                <a:cubicBezTo>
                  <a:pt x="422729" y="2803690"/>
                  <a:pt x="418584" y="2792646"/>
                  <a:pt x="413058" y="2782983"/>
                </a:cubicBezTo>
                <a:cubicBezTo>
                  <a:pt x="408914" y="2773320"/>
                  <a:pt x="403388" y="2763657"/>
                  <a:pt x="399244" y="2755374"/>
                </a:cubicBezTo>
                <a:cubicBezTo>
                  <a:pt x="395099" y="2744330"/>
                  <a:pt x="389574" y="2734667"/>
                  <a:pt x="384048" y="2723624"/>
                </a:cubicBezTo>
                <a:cubicBezTo>
                  <a:pt x="379903" y="2713961"/>
                  <a:pt x="375759" y="2705678"/>
                  <a:pt x="371614" y="2696015"/>
                </a:cubicBezTo>
                <a:cubicBezTo>
                  <a:pt x="367470" y="2684971"/>
                  <a:pt x="361944" y="2675308"/>
                  <a:pt x="357800" y="2664264"/>
                </a:cubicBezTo>
                <a:cubicBezTo>
                  <a:pt x="353655" y="2654601"/>
                  <a:pt x="349511" y="2644938"/>
                  <a:pt x="345367" y="2635275"/>
                </a:cubicBezTo>
                <a:cubicBezTo>
                  <a:pt x="339841" y="2625612"/>
                  <a:pt x="335696" y="2614568"/>
                  <a:pt x="331552" y="2604905"/>
                </a:cubicBezTo>
                <a:cubicBezTo>
                  <a:pt x="327408" y="2595242"/>
                  <a:pt x="323263" y="2585579"/>
                  <a:pt x="319119" y="2575916"/>
                </a:cubicBezTo>
                <a:cubicBezTo>
                  <a:pt x="314974" y="2564872"/>
                  <a:pt x="309449" y="2553829"/>
                  <a:pt x="305304" y="2544166"/>
                </a:cubicBezTo>
                <a:cubicBezTo>
                  <a:pt x="301160" y="2534502"/>
                  <a:pt x="297015" y="2524839"/>
                  <a:pt x="294252" y="2515176"/>
                </a:cubicBezTo>
                <a:cubicBezTo>
                  <a:pt x="290108" y="2504133"/>
                  <a:pt x="285964" y="2493089"/>
                  <a:pt x="281819" y="2482045"/>
                </a:cubicBezTo>
                <a:cubicBezTo>
                  <a:pt x="277675" y="2472382"/>
                  <a:pt x="273530" y="2462719"/>
                  <a:pt x="269386" y="2453056"/>
                </a:cubicBezTo>
                <a:cubicBezTo>
                  <a:pt x="265242" y="2442012"/>
                  <a:pt x="261097" y="2432349"/>
                  <a:pt x="256953" y="2421306"/>
                </a:cubicBezTo>
                <a:cubicBezTo>
                  <a:pt x="254190" y="2411643"/>
                  <a:pt x="250045" y="2400599"/>
                  <a:pt x="245901" y="2390936"/>
                </a:cubicBezTo>
                <a:cubicBezTo>
                  <a:pt x="243138" y="2379892"/>
                  <a:pt x="238994" y="2370229"/>
                  <a:pt x="234849" y="2359186"/>
                </a:cubicBezTo>
                <a:cubicBezTo>
                  <a:pt x="230705" y="2349522"/>
                  <a:pt x="227942" y="2338479"/>
                  <a:pt x="223798" y="2328816"/>
                </a:cubicBezTo>
                <a:cubicBezTo>
                  <a:pt x="221035" y="2317772"/>
                  <a:pt x="216890" y="2306728"/>
                  <a:pt x="214127" y="2297065"/>
                </a:cubicBezTo>
                <a:cubicBezTo>
                  <a:pt x="209983" y="2286022"/>
                  <a:pt x="205839" y="2274978"/>
                  <a:pt x="203076" y="2265315"/>
                </a:cubicBezTo>
                <a:cubicBezTo>
                  <a:pt x="198931" y="2254271"/>
                  <a:pt x="196168" y="2244608"/>
                  <a:pt x="193405" y="2233565"/>
                </a:cubicBezTo>
                <a:cubicBezTo>
                  <a:pt x="189261" y="2222521"/>
                  <a:pt x="186498" y="2212858"/>
                  <a:pt x="182354" y="2201814"/>
                </a:cubicBezTo>
                <a:cubicBezTo>
                  <a:pt x="179591" y="2190771"/>
                  <a:pt x="176828" y="2181108"/>
                  <a:pt x="172683" y="2170064"/>
                </a:cubicBezTo>
                <a:cubicBezTo>
                  <a:pt x="169920" y="2159021"/>
                  <a:pt x="167158" y="2147977"/>
                  <a:pt x="163013" y="2136933"/>
                </a:cubicBezTo>
                <a:cubicBezTo>
                  <a:pt x="160250" y="2127270"/>
                  <a:pt x="157487" y="2117607"/>
                  <a:pt x="154724" y="2107944"/>
                </a:cubicBezTo>
                <a:cubicBezTo>
                  <a:pt x="151961" y="2095520"/>
                  <a:pt x="147817" y="2084476"/>
                  <a:pt x="145054" y="2072052"/>
                </a:cubicBezTo>
                <a:cubicBezTo>
                  <a:pt x="142291" y="2063770"/>
                  <a:pt x="139528" y="2054107"/>
                  <a:pt x="138147" y="2044443"/>
                </a:cubicBezTo>
                <a:cubicBezTo>
                  <a:pt x="134002" y="2032019"/>
                  <a:pt x="131239" y="2019595"/>
                  <a:pt x="127095" y="2007171"/>
                </a:cubicBezTo>
                <a:cubicBezTo>
                  <a:pt x="125714" y="2000269"/>
                  <a:pt x="124332" y="1991986"/>
                  <a:pt x="121569" y="1985084"/>
                </a:cubicBezTo>
                <a:cubicBezTo>
                  <a:pt x="113280" y="1949193"/>
                  <a:pt x="104992" y="1913301"/>
                  <a:pt x="96703" y="1876029"/>
                </a:cubicBezTo>
                <a:cubicBezTo>
                  <a:pt x="95321" y="1871887"/>
                  <a:pt x="95321" y="1867746"/>
                  <a:pt x="93940" y="1863605"/>
                </a:cubicBezTo>
                <a:cubicBezTo>
                  <a:pt x="91177" y="1853942"/>
                  <a:pt x="89795" y="1844279"/>
                  <a:pt x="87032" y="1833235"/>
                </a:cubicBezTo>
                <a:cubicBezTo>
                  <a:pt x="85651" y="1827713"/>
                  <a:pt x="84270" y="1820811"/>
                  <a:pt x="82888" y="1813909"/>
                </a:cubicBezTo>
                <a:cubicBezTo>
                  <a:pt x="81507" y="1805626"/>
                  <a:pt x="80125" y="1795963"/>
                  <a:pt x="77362" y="1786300"/>
                </a:cubicBezTo>
                <a:cubicBezTo>
                  <a:pt x="75981" y="1780778"/>
                  <a:pt x="75981" y="1775256"/>
                  <a:pt x="74599" y="1769734"/>
                </a:cubicBezTo>
                <a:cubicBezTo>
                  <a:pt x="71836" y="1755930"/>
                  <a:pt x="69073" y="1742125"/>
                  <a:pt x="66310" y="1728321"/>
                </a:cubicBezTo>
                <a:cubicBezTo>
                  <a:pt x="64929" y="1722799"/>
                  <a:pt x="64929" y="1717277"/>
                  <a:pt x="63548" y="1710375"/>
                </a:cubicBezTo>
                <a:cubicBezTo>
                  <a:pt x="62166" y="1702092"/>
                  <a:pt x="59403" y="1692429"/>
                  <a:pt x="58022" y="1682766"/>
                </a:cubicBezTo>
                <a:cubicBezTo>
                  <a:pt x="58022" y="1677244"/>
                  <a:pt x="56640" y="1670342"/>
                  <a:pt x="55259" y="1664820"/>
                </a:cubicBezTo>
                <a:cubicBezTo>
                  <a:pt x="52496" y="1651016"/>
                  <a:pt x="51114" y="1637211"/>
                  <a:pt x="48351" y="1623407"/>
                </a:cubicBezTo>
                <a:cubicBezTo>
                  <a:pt x="48351" y="1619266"/>
                  <a:pt x="46970" y="1613744"/>
                  <a:pt x="46970" y="1609602"/>
                </a:cubicBezTo>
                <a:cubicBezTo>
                  <a:pt x="45589" y="1598559"/>
                  <a:pt x="42826" y="1588896"/>
                  <a:pt x="41444" y="1579233"/>
                </a:cubicBezTo>
                <a:cubicBezTo>
                  <a:pt x="41444" y="1572330"/>
                  <a:pt x="40063" y="1566808"/>
                  <a:pt x="38681" y="1561287"/>
                </a:cubicBezTo>
                <a:cubicBezTo>
                  <a:pt x="37300" y="1550243"/>
                  <a:pt x="35918" y="1540580"/>
                  <a:pt x="34537" y="1529536"/>
                </a:cubicBezTo>
                <a:cubicBezTo>
                  <a:pt x="34537" y="1525395"/>
                  <a:pt x="34537" y="1519873"/>
                  <a:pt x="33155" y="1515732"/>
                </a:cubicBezTo>
                <a:cubicBezTo>
                  <a:pt x="31774" y="1501927"/>
                  <a:pt x="30392" y="1488123"/>
                  <a:pt x="27629" y="1474318"/>
                </a:cubicBezTo>
                <a:cubicBezTo>
                  <a:pt x="27629" y="1468797"/>
                  <a:pt x="26248" y="1463275"/>
                  <a:pt x="26248" y="1456373"/>
                </a:cubicBezTo>
                <a:cubicBezTo>
                  <a:pt x="24867" y="1446710"/>
                  <a:pt x="23485" y="1438427"/>
                  <a:pt x="23485" y="1428764"/>
                </a:cubicBezTo>
                <a:cubicBezTo>
                  <a:pt x="22104" y="1423242"/>
                  <a:pt x="22104" y="1416340"/>
                  <a:pt x="20722" y="1410818"/>
                </a:cubicBezTo>
                <a:cubicBezTo>
                  <a:pt x="19341" y="1397013"/>
                  <a:pt x="17959" y="1384589"/>
                  <a:pt x="16578" y="1370785"/>
                </a:cubicBezTo>
                <a:cubicBezTo>
                  <a:pt x="16578" y="1365263"/>
                  <a:pt x="16578" y="1359741"/>
                  <a:pt x="15196" y="1354220"/>
                </a:cubicBezTo>
                <a:cubicBezTo>
                  <a:pt x="15196" y="1344556"/>
                  <a:pt x="13815" y="1334893"/>
                  <a:pt x="13815" y="1325230"/>
                </a:cubicBezTo>
                <a:cubicBezTo>
                  <a:pt x="12433" y="1319708"/>
                  <a:pt x="12433" y="1312806"/>
                  <a:pt x="11052" y="1307284"/>
                </a:cubicBezTo>
                <a:cubicBezTo>
                  <a:pt x="11052" y="1296241"/>
                  <a:pt x="9670" y="1285197"/>
                  <a:pt x="9670" y="1275534"/>
                </a:cubicBezTo>
                <a:cubicBezTo>
                  <a:pt x="8289" y="1267251"/>
                  <a:pt x="8289" y="1260349"/>
                  <a:pt x="8289" y="1253447"/>
                </a:cubicBezTo>
                <a:cubicBezTo>
                  <a:pt x="6907" y="1242403"/>
                  <a:pt x="6907" y="1232740"/>
                  <a:pt x="5526" y="1221697"/>
                </a:cubicBezTo>
                <a:cubicBezTo>
                  <a:pt x="5526" y="1216175"/>
                  <a:pt x="5526" y="1209273"/>
                  <a:pt x="5526" y="1202370"/>
                </a:cubicBezTo>
                <a:cubicBezTo>
                  <a:pt x="4145" y="1194088"/>
                  <a:pt x="4145" y="1185805"/>
                  <a:pt x="4145" y="1176142"/>
                </a:cubicBezTo>
                <a:cubicBezTo>
                  <a:pt x="4145" y="1170620"/>
                  <a:pt x="2763" y="1163718"/>
                  <a:pt x="2763" y="1158196"/>
                </a:cubicBezTo>
                <a:cubicBezTo>
                  <a:pt x="2763" y="1144391"/>
                  <a:pt x="1382" y="1131967"/>
                  <a:pt x="1382" y="1118163"/>
                </a:cubicBezTo>
                <a:cubicBezTo>
                  <a:pt x="1382" y="1112641"/>
                  <a:pt x="1382" y="1105739"/>
                  <a:pt x="1382" y="1098837"/>
                </a:cubicBezTo>
                <a:cubicBezTo>
                  <a:pt x="1382" y="1090554"/>
                  <a:pt x="0" y="1082271"/>
                  <a:pt x="0" y="1073989"/>
                </a:cubicBezTo>
                <a:cubicBezTo>
                  <a:pt x="0" y="1068467"/>
                  <a:pt x="0" y="1061565"/>
                  <a:pt x="0" y="1054662"/>
                </a:cubicBezTo>
                <a:cubicBezTo>
                  <a:pt x="0" y="1043619"/>
                  <a:pt x="0" y="1033956"/>
                  <a:pt x="0" y="1022912"/>
                </a:cubicBezTo>
                <a:cubicBezTo>
                  <a:pt x="0" y="1014629"/>
                  <a:pt x="0" y="1004966"/>
                  <a:pt x="0" y="996684"/>
                </a:cubicBezTo>
                <a:cubicBezTo>
                  <a:pt x="0" y="988401"/>
                  <a:pt x="0" y="980118"/>
                  <a:pt x="0" y="971835"/>
                </a:cubicBezTo>
                <a:cubicBezTo>
                  <a:pt x="0" y="964933"/>
                  <a:pt x="0" y="958031"/>
                  <a:pt x="0" y="949748"/>
                </a:cubicBezTo>
                <a:cubicBezTo>
                  <a:pt x="0" y="942846"/>
                  <a:pt x="0" y="934563"/>
                  <a:pt x="0" y="927661"/>
                </a:cubicBezTo>
                <a:cubicBezTo>
                  <a:pt x="0" y="916617"/>
                  <a:pt x="1382" y="906954"/>
                  <a:pt x="1382" y="895911"/>
                </a:cubicBezTo>
                <a:cubicBezTo>
                  <a:pt x="1382" y="887628"/>
                  <a:pt x="1382" y="877965"/>
                  <a:pt x="1382" y="869682"/>
                </a:cubicBezTo>
                <a:cubicBezTo>
                  <a:pt x="1382" y="862780"/>
                  <a:pt x="2763" y="854497"/>
                  <a:pt x="2763" y="847595"/>
                </a:cubicBezTo>
                <a:cubicBezTo>
                  <a:pt x="2763" y="840693"/>
                  <a:pt x="2763" y="833791"/>
                  <a:pt x="2763" y="826888"/>
                </a:cubicBezTo>
                <a:cubicBezTo>
                  <a:pt x="4145" y="818606"/>
                  <a:pt x="4145" y="811703"/>
                  <a:pt x="4145" y="803421"/>
                </a:cubicBezTo>
                <a:cubicBezTo>
                  <a:pt x="5526" y="793758"/>
                  <a:pt x="5526" y="782714"/>
                  <a:pt x="5526" y="773051"/>
                </a:cubicBezTo>
                <a:cubicBezTo>
                  <a:pt x="6907" y="763388"/>
                  <a:pt x="6907" y="753725"/>
                  <a:pt x="8289" y="744062"/>
                </a:cubicBezTo>
                <a:cubicBezTo>
                  <a:pt x="8289" y="739920"/>
                  <a:pt x="8289" y="735779"/>
                  <a:pt x="8289" y="731637"/>
                </a:cubicBezTo>
                <a:cubicBezTo>
                  <a:pt x="9670" y="731637"/>
                  <a:pt x="9670" y="733018"/>
                  <a:pt x="11052" y="733018"/>
                </a:cubicBezTo>
                <a:cubicBezTo>
                  <a:pt x="20722" y="737159"/>
                  <a:pt x="30392" y="741301"/>
                  <a:pt x="40063" y="745442"/>
                </a:cubicBezTo>
                <a:cubicBezTo>
                  <a:pt x="41444" y="746822"/>
                  <a:pt x="42826" y="746822"/>
                  <a:pt x="42826" y="746822"/>
                </a:cubicBezTo>
                <a:cubicBezTo>
                  <a:pt x="52496" y="752344"/>
                  <a:pt x="62166" y="756486"/>
                  <a:pt x="71836" y="760627"/>
                </a:cubicBezTo>
                <a:cubicBezTo>
                  <a:pt x="71836" y="760627"/>
                  <a:pt x="73218" y="762007"/>
                  <a:pt x="74599" y="762007"/>
                </a:cubicBezTo>
                <a:cubicBezTo>
                  <a:pt x="84270" y="766149"/>
                  <a:pt x="92558" y="771670"/>
                  <a:pt x="102229" y="777192"/>
                </a:cubicBezTo>
                <a:cubicBezTo>
                  <a:pt x="104992" y="777192"/>
                  <a:pt x="106373" y="778573"/>
                  <a:pt x="107754" y="778573"/>
                </a:cubicBezTo>
                <a:cubicBezTo>
                  <a:pt x="117425" y="784095"/>
                  <a:pt x="127095" y="789616"/>
                  <a:pt x="135384" y="795138"/>
                </a:cubicBezTo>
                <a:cubicBezTo>
                  <a:pt x="136765" y="795138"/>
                  <a:pt x="138147" y="795138"/>
                  <a:pt x="138147" y="796519"/>
                </a:cubicBezTo>
                <a:cubicBezTo>
                  <a:pt x="147817" y="800660"/>
                  <a:pt x="156106" y="806182"/>
                  <a:pt x="165776" y="811703"/>
                </a:cubicBezTo>
                <a:cubicBezTo>
                  <a:pt x="167158" y="811703"/>
                  <a:pt x="167158" y="813084"/>
                  <a:pt x="168539" y="813084"/>
                </a:cubicBezTo>
                <a:cubicBezTo>
                  <a:pt x="178209" y="818606"/>
                  <a:pt x="186498" y="824128"/>
                  <a:pt x="196168" y="831030"/>
                </a:cubicBezTo>
                <a:cubicBezTo>
                  <a:pt x="197550" y="831030"/>
                  <a:pt x="198931" y="832410"/>
                  <a:pt x="201694" y="833791"/>
                </a:cubicBezTo>
                <a:cubicBezTo>
                  <a:pt x="209983" y="839312"/>
                  <a:pt x="219653" y="844834"/>
                  <a:pt x="227942" y="851736"/>
                </a:cubicBezTo>
                <a:cubicBezTo>
                  <a:pt x="229323" y="851736"/>
                  <a:pt x="229323" y="851736"/>
                  <a:pt x="230705" y="853117"/>
                </a:cubicBezTo>
                <a:cubicBezTo>
                  <a:pt x="238994" y="858639"/>
                  <a:pt x="247283" y="864161"/>
                  <a:pt x="256953" y="871063"/>
                </a:cubicBezTo>
                <a:cubicBezTo>
                  <a:pt x="258334" y="871063"/>
                  <a:pt x="258334" y="872443"/>
                  <a:pt x="259716" y="873824"/>
                </a:cubicBezTo>
                <a:cubicBezTo>
                  <a:pt x="269386" y="879345"/>
                  <a:pt x="277675" y="886248"/>
                  <a:pt x="285964" y="891769"/>
                </a:cubicBezTo>
                <a:cubicBezTo>
                  <a:pt x="287345" y="893150"/>
                  <a:pt x="288727" y="894530"/>
                  <a:pt x="291489" y="895911"/>
                </a:cubicBezTo>
                <a:cubicBezTo>
                  <a:pt x="299778" y="902813"/>
                  <a:pt x="308067" y="909715"/>
                  <a:pt x="316356" y="916617"/>
                </a:cubicBezTo>
                <a:cubicBezTo>
                  <a:pt x="317737" y="916617"/>
                  <a:pt x="317737" y="916617"/>
                  <a:pt x="317737" y="916617"/>
                </a:cubicBezTo>
                <a:cubicBezTo>
                  <a:pt x="326026" y="923520"/>
                  <a:pt x="334315" y="930422"/>
                  <a:pt x="342604" y="937324"/>
                </a:cubicBezTo>
                <a:cubicBezTo>
                  <a:pt x="343985" y="938705"/>
                  <a:pt x="345367" y="940085"/>
                  <a:pt x="346748" y="941466"/>
                </a:cubicBezTo>
                <a:cubicBezTo>
                  <a:pt x="355037" y="948368"/>
                  <a:pt x="363326" y="955270"/>
                  <a:pt x="371614" y="962172"/>
                </a:cubicBezTo>
                <a:cubicBezTo>
                  <a:pt x="372996" y="963553"/>
                  <a:pt x="374377" y="964933"/>
                  <a:pt x="375759" y="966314"/>
                </a:cubicBezTo>
                <a:cubicBezTo>
                  <a:pt x="384048" y="973216"/>
                  <a:pt x="392336" y="981499"/>
                  <a:pt x="400625" y="988401"/>
                </a:cubicBezTo>
                <a:cubicBezTo>
                  <a:pt x="400625" y="988401"/>
                  <a:pt x="402007" y="989781"/>
                  <a:pt x="402007" y="989781"/>
                </a:cubicBezTo>
                <a:cubicBezTo>
                  <a:pt x="408914" y="996684"/>
                  <a:pt x="417203" y="1004966"/>
                  <a:pt x="425492" y="1011868"/>
                </a:cubicBezTo>
                <a:cubicBezTo>
                  <a:pt x="426873" y="1013249"/>
                  <a:pt x="428255" y="1014629"/>
                  <a:pt x="429636" y="1016010"/>
                </a:cubicBezTo>
                <a:cubicBezTo>
                  <a:pt x="436543" y="1024292"/>
                  <a:pt x="444832" y="1032575"/>
                  <a:pt x="453121" y="1039477"/>
                </a:cubicBezTo>
                <a:cubicBezTo>
                  <a:pt x="454502" y="1040858"/>
                  <a:pt x="455884" y="1043619"/>
                  <a:pt x="457265" y="1044999"/>
                </a:cubicBezTo>
                <a:cubicBezTo>
                  <a:pt x="464173" y="1053282"/>
                  <a:pt x="472462" y="1061565"/>
                  <a:pt x="479369" y="1069847"/>
                </a:cubicBezTo>
                <a:cubicBezTo>
                  <a:pt x="809539" y="1435666"/>
                  <a:pt x="1293052" y="1579233"/>
                  <a:pt x="1743410" y="1490884"/>
                </a:cubicBezTo>
                <a:cubicBezTo>
                  <a:pt x="1758606" y="1488123"/>
                  <a:pt x="1772421" y="1485362"/>
                  <a:pt x="1786236" y="1482601"/>
                </a:cubicBezTo>
                <a:cubicBezTo>
                  <a:pt x="1902279" y="1456373"/>
                  <a:pt x="2016941" y="1413579"/>
                  <a:pt x="2124695" y="1355600"/>
                </a:cubicBezTo>
                <a:cubicBezTo>
                  <a:pt x="2217253" y="1305904"/>
                  <a:pt x="2305667" y="1243784"/>
                  <a:pt x="2388555" y="1169240"/>
                </a:cubicBezTo>
                <a:cubicBezTo>
                  <a:pt x="2565382" y="1010488"/>
                  <a:pt x="2691096" y="814464"/>
                  <a:pt x="2762932" y="603256"/>
                </a:cubicBezTo>
                <a:cubicBezTo>
                  <a:pt x="2767077" y="590832"/>
                  <a:pt x="2771221" y="577027"/>
                  <a:pt x="2775365" y="563223"/>
                </a:cubicBezTo>
                <a:cubicBezTo>
                  <a:pt x="2836150" y="386526"/>
                  <a:pt x="2932852" y="222252"/>
                  <a:pt x="3066855" y="80066"/>
                </a:cubicBezTo>
                <a:cubicBezTo>
                  <a:pt x="3066855" y="80066"/>
                  <a:pt x="3066855" y="80066"/>
                  <a:pt x="3066855" y="0"/>
                </a:cubicBezTo>
                <a:close/>
              </a:path>
            </a:pathLst>
          </a:custGeom>
        </p:spPr>
        <p:txBody>
          <a:bodyPr wrap="square" tIns="28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8284650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olorful circle shapes&#10;&#10;Description automatically generated with medium confidence">
            <a:extLst>
              <a:ext uri="{FF2B5EF4-FFF2-40B4-BE49-F238E27FC236}">
                <a16:creationId xmlns:a16="http://schemas.microsoft.com/office/drawing/2014/main" id="{359161E4-197E-88D5-EB0B-C36268C218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2190" y="-1"/>
            <a:ext cx="5179810" cy="5898875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1355607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olorful background with different shapes&#10;&#10;Description automatically generated with medium confidence">
            <a:extLst>
              <a:ext uri="{FF2B5EF4-FFF2-40B4-BE49-F238E27FC236}">
                <a16:creationId xmlns:a16="http://schemas.microsoft.com/office/drawing/2014/main" id="{41CB0998-F869-8C2B-5155-25159CF65E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0"/>
            <a:ext cx="53721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2343139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Blue, Image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blue and orange logo&#10;&#10;Description automatically generated with medium confidence">
            <a:extLst>
              <a:ext uri="{FF2B5EF4-FFF2-40B4-BE49-F238E27FC236}">
                <a16:creationId xmlns:a16="http://schemas.microsoft.com/office/drawing/2014/main" id="{DA746F40-D9E5-EE54-9147-0C10275E9B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494" y="0"/>
            <a:ext cx="5687505" cy="6081941"/>
          </a:xfrm>
          <a:prstGeom prst="rect">
            <a:avLst/>
          </a:prstGeom>
        </p:spPr>
      </p:pic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684AD74C-D134-954A-A43E-286899A1AE0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58520" y="1823213"/>
            <a:ext cx="3533479" cy="5030026"/>
          </a:xfrm>
          <a:custGeom>
            <a:avLst/>
            <a:gdLst>
              <a:gd name="connsiteX0" fmla="*/ 3066855 w 3068236"/>
              <a:gd name="connsiteY0" fmla="*/ 0 h 4367737"/>
              <a:gd name="connsiteX1" fmla="*/ 3068236 w 3068236"/>
              <a:gd name="connsiteY1" fmla="*/ 0 h 4367737"/>
              <a:gd name="connsiteX2" fmla="*/ 3068236 w 3068236"/>
              <a:gd name="connsiteY2" fmla="*/ 4367737 h 4367737"/>
              <a:gd name="connsiteX3" fmla="*/ 1362126 w 3068236"/>
              <a:gd name="connsiteY3" fmla="*/ 4367737 h 4367737"/>
              <a:gd name="connsiteX4" fmla="*/ 951830 w 3068236"/>
              <a:gd name="connsiteY4" fmla="*/ 3609871 h 4367737"/>
              <a:gd name="connsiteX5" fmla="*/ 936634 w 3068236"/>
              <a:gd name="connsiteY5" fmla="*/ 3590545 h 4367737"/>
              <a:gd name="connsiteX6" fmla="*/ 909005 w 3068236"/>
              <a:gd name="connsiteY6" fmla="*/ 3557414 h 4367737"/>
              <a:gd name="connsiteX7" fmla="*/ 896572 w 3068236"/>
              <a:gd name="connsiteY7" fmla="*/ 3542229 h 4367737"/>
              <a:gd name="connsiteX8" fmla="*/ 864798 w 3068236"/>
              <a:gd name="connsiteY8" fmla="*/ 3502196 h 4367737"/>
              <a:gd name="connsiteX9" fmla="*/ 856509 w 3068236"/>
              <a:gd name="connsiteY9" fmla="*/ 3491153 h 4367737"/>
              <a:gd name="connsiteX10" fmla="*/ 817828 w 3068236"/>
              <a:gd name="connsiteY10" fmla="*/ 3440076 h 4367737"/>
              <a:gd name="connsiteX11" fmla="*/ 816447 w 3068236"/>
              <a:gd name="connsiteY11" fmla="*/ 3438696 h 4367737"/>
              <a:gd name="connsiteX12" fmla="*/ 779147 w 3068236"/>
              <a:gd name="connsiteY12" fmla="*/ 3389000 h 4367737"/>
              <a:gd name="connsiteX13" fmla="*/ 768095 w 3068236"/>
              <a:gd name="connsiteY13" fmla="*/ 3373815 h 4367737"/>
              <a:gd name="connsiteX14" fmla="*/ 741847 w 3068236"/>
              <a:gd name="connsiteY14" fmla="*/ 3337923 h 4367737"/>
              <a:gd name="connsiteX15" fmla="*/ 728033 w 3068236"/>
              <a:gd name="connsiteY15" fmla="*/ 3318597 h 4367737"/>
              <a:gd name="connsiteX16" fmla="*/ 704548 w 3068236"/>
              <a:gd name="connsiteY16" fmla="*/ 3284086 h 4367737"/>
              <a:gd name="connsiteX17" fmla="*/ 690733 w 3068236"/>
              <a:gd name="connsiteY17" fmla="*/ 3263379 h 4367737"/>
              <a:gd name="connsiteX18" fmla="*/ 670011 w 3068236"/>
              <a:gd name="connsiteY18" fmla="*/ 3231629 h 4367737"/>
              <a:gd name="connsiteX19" fmla="*/ 654815 w 3068236"/>
              <a:gd name="connsiteY19" fmla="*/ 3209541 h 4367737"/>
              <a:gd name="connsiteX20" fmla="*/ 634093 w 3068236"/>
              <a:gd name="connsiteY20" fmla="*/ 3177791 h 4367737"/>
              <a:gd name="connsiteX21" fmla="*/ 620278 w 3068236"/>
              <a:gd name="connsiteY21" fmla="*/ 3154323 h 4367737"/>
              <a:gd name="connsiteX22" fmla="*/ 599556 w 3068236"/>
              <a:gd name="connsiteY22" fmla="*/ 3122573 h 4367737"/>
              <a:gd name="connsiteX23" fmla="*/ 585742 w 3068236"/>
              <a:gd name="connsiteY23" fmla="*/ 3099106 h 4367737"/>
              <a:gd name="connsiteX24" fmla="*/ 566401 w 3068236"/>
              <a:gd name="connsiteY24" fmla="*/ 3067355 h 4367737"/>
              <a:gd name="connsiteX25" fmla="*/ 552587 w 3068236"/>
              <a:gd name="connsiteY25" fmla="*/ 3042507 h 4367737"/>
              <a:gd name="connsiteX26" fmla="*/ 534628 w 3068236"/>
              <a:gd name="connsiteY26" fmla="*/ 3012137 h 4367737"/>
              <a:gd name="connsiteX27" fmla="*/ 519431 w 3068236"/>
              <a:gd name="connsiteY27" fmla="*/ 2985909 h 4367737"/>
              <a:gd name="connsiteX28" fmla="*/ 502854 w 3068236"/>
              <a:gd name="connsiteY28" fmla="*/ 2955539 h 4367737"/>
              <a:gd name="connsiteX29" fmla="*/ 489039 w 3068236"/>
              <a:gd name="connsiteY29" fmla="*/ 2929310 h 4367737"/>
              <a:gd name="connsiteX30" fmla="*/ 472462 w 3068236"/>
              <a:gd name="connsiteY30" fmla="*/ 2898941 h 4367737"/>
              <a:gd name="connsiteX31" fmla="*/ 458647 w 3068236"/>
              <a:gd name="connsiteY31" fmla="*/ 2871332 h 4367737"/>
              <a:gd name="connsiteX32" fmla="*/ 442069 w 3068236"/>
              <a:gd name="connsiteY32" fmla="*/ 2840962 h 4367737"/>
              <a:gd name="connsiteX33" fmla="*/ 428255 w 3068236"/>
              <a:gd name="connsiteY33" fmla="*/ 2813353 h 4367737"/>
              <a:gd name="connsiteX34" fmla="*/ 413058 w 3068236"/>
              <a:gd name="connsiteY34" fmla="*/ 2782983 h 4367737"/>
              <a:gd name="connsiteX35" fmla="*/ 399244 w 3068236"/>
              <a:gd name="connsiteY35" fmla="*/ 2755374 h 4367737"/>
              <a:gd name="connsiteX36" fmla="*/ 384048 w 3068236"/>
              <a:gd name="connsiteY36" fmla="*/ 2723624 h 4367737"/>
              <a:gd name="connsiteX37" fmla="*/ 371614 w 3068236"/>
              <a:gd name="connsiteY37" fmla="*/ 2696015 h 4367737"/>
              <a:gd name="connsiteX38" fmla="*/ 357800 w 3068236"/>
              <a:gd name="connsiteY38" fmla="*/ 2664264 h 4367737"/>
              <a:gd name="connsiteX39" fmla="*/ 345367 w 3068236"/>
              <a:gd name="connsiteY39" fmla="*/ 2635275 h 4367737"/>
              <a:gd name="connsiteX40" fmla="*/ 331552 w 3068236"/>
              <a:gd name="connsiteY40" fmla="*/ 2604905 h 4367737"/>
              <a:gd name="connsiteX41" fmla="*/ 319119 w 3068236"/>
              <a:gd name="connsiteY41" fmla="*/ 2575916 h 4367737"/>
              <a:gd name="connsiteX42" fmla="*/ 305304 w 3068236"/>
              <a:gd name="connsiteY42" fmla="*/ 2544166 h 4367737"/>
              <a:gd name="connsiteX43" fmla="*/ 294252 w 3068236"/>
              <a:gd name="connsiteY43" fmla="*/ 2515176 h 4367737"/>
              <a:gd name="connsiteX44" fmla="*/ 281819 w 3068236"/>
              <a:gd name="connsiteY44" fmla="*/ 2482045 h 4367737"/>
              <a:gd name="connsiteX45" fmla="*/ 269386 w 3068236"/>
              <a:gd name="connsiteY45" fmla="*/ 2453056 h 4367737"/>
              <a:gd name="connsiteX46" fmla="*/ 256953 w 3068236"/>
              <a:gd name="connsiteY46" fmla="*/ 2421306 h 4367737"/>
              <a:gd name="connsiteX47" fmla="*/ 245901 w 3068236"/>
              <a:gd name="connsiteY47" fmla="*/ 2390936 h 4367737"/>
              <a:gd name="connsiteX48" fmla="*/ 234849 w 3068236"/>
              <a:gd name="connsiteY48" fmla="*/ 2359186 h 4367737"/>
              <a:gd name="connsiteX49" fmla="*/ 223798 w 3068236"/>
              <a:gd name="connsiteY49" fmla="*/ 2328816 h 4367737"/>
              <a:gd name="connsiteX50" fmla="*/ 214127 w 3068236"/>
              <a:gd name="connsiteY50" fmla="*/ 2297065 h 4367737"/>
              <a:gd name="connsiteX51" fmla="*/ 203076 w 3068236"/>
              <a:gd name="connsiteY51" fmla="*/ 2265315 h 4367737"/>
              <a:gd name="connsiteX52" fmla="*/ 193405 w 3068236"/>
              <a:gd name="connsiteY52" fmla="*/ 2233565 h 4367737"/>
              <a:gd name="connsiteX53" fmla="*/ 182354 w 3068236"/>
              <a:gd name="connsiteY53" fmla="*/ 2201814 h 4367737"/>
              <a:gd name="connsiteX54" fmla="*/ 172683 w 3068236"/>
              <a:gd name="connsiteY54" fmla="*/ 2170064 h 4367737"/>
              <a:gd name="connsiteX55" fmla="*/ 163013 w 3068236"/>
              <a:gd name="connsiteY55" fmla="*/ 2136933 h 4367737"/>
              <a:gd name="connsiteX56" fmla="*/ 154724 w 3068236"/>
              <a:gd name="connsiteY56" fmla="*/ 2107944 h 4367737"/>
              <a:gd name="connsiteX57" fmla="*/ 145054 w 3068236"/>
              <a:gd name="connsiteY57" fmla="*/ 2072052 h 4367737"/>
              <a:gd name="connsiteX58" fmla="*/ 138147 w 3068236"/>
              <a:gd name="connsiteY58" fmla="*/ 2044443 h 4367737"/>
              <a:gd name="connsiteX59" fmla="*/ 127095 w 3068236"/>
              <a:gd name="connsiteY59" fmla="*/ 2007171 h 4367737"/>
              <a:gd name="connsiteX60" fmla="*/ 121569 w 3068236"/>
              <a:gd name="connsiteY60" fmla="*/ 1985084 h 4367737"/>
              <a:gd name="connsiteX61" fmla="*/ 96703 w 3068236"/>
              <a:gd name="connsiteY61" fmla="*/ 1876029 h 4367737"/>
              <a:gd name="connsiteX62" fmla="*/ 93940 w 3068236"/>
              <a:gd name="connsiteY62" fmla="*/ 1863605 h 4367737"/>
              <a:gd name="connsiteX63" fmla="*/ 87032 w 3068236"/>
              <a:gd name="connsiteY63" fmla="*/ 1833235 h 4367737"/>
              <a:gd name="connsiteX64" fmla="*/ 82888 w 3068236"/>
              <a:gd name="connsiteY64" fmla="*/ 1813909 h 4367737"/>
              <a:gd name="connsiteX65" fmla="*/ 77362 w 3068236"/>
              <a:gd name="connsiteY65" fmla="*/ 1786300 h 4367737"/>
              <a:gd name="connsiteX66" fmla="*/ 74599 w 3068236"/>
              <a:gd name="connsiteY66" fmla="*/ 1769734 h 4367737"/>
              <a:gd name="connsiteX67" fmla="*/ 66310 w 3068236"/>
              <a:gd name="connsiteY67" fmla="*/ 1728321 h 4367737"/>
              <a:gd name="connsiteX68" fmla="*/ 63548 w 3068236"/>
              <a:gd name="connsiteY68" fmla="*/ 1710375 h 4367737"/>
              <a:gd name="connsiteX69" fmla="*/ 58022 w 3068236"/>
              <a:gd name="connsiteY69" fmla="*/ 1682766 h 4367737"/>
              <a:gd name="connsiteX70" fmla="*/ 55259 w 3068236"/>
              <a:gd name="connsiteY70" fmla="*/ 1664820 h 4367737"/>
              <a:gd name="connsiteX71" fmla="*/ 48351 w 3068236"/>
              <a:gd name="connsiteY71" fmla="*/ 1623407 h 4367737"/>
              <a:gd name="connsiteX72" fmla="*/ 46970 w 3068236"/>
              <a:gd name="connsiteY72" fmla="*/ 1609602 h 4367737"/>
              <a:gd name="connsiteX73" fmla="*/ 41444 w 3068236"/>
              <a:gd name="connsiteY73" fmla="*/ 1579233 h 4367737"/>
              <a:gd name="connsiteX74" fmla="*/ 38681 w 3068236"/>
              <a:gd name="connsiteY74" fmla="*/ 1561287 h 4367737"/>
              <a:gd name="connsiteX75" fmla="*/ 34537 w 3068236"/>
              <a:gd name="connsiteY75" fmla="*/ 1529536 h 4367737"/>
              <a:gd name="connsiteX76" fmla="*/ 33155 w 3068236"/>
              <a:gd name="connsiteY76" fmla="*/ 1515732 h 4367737"/>
              <a:gd name="connsiteX77" fmla="*/ 27629 w 3068236"/>
              <a:gd name="connsiteY77" fmla="*/ 1474318 h 4367737"/>
              <a:gd name="connsiteX78" fmla="*/ 26248 w 3068236"/>
              <a:gd name="connsiteY78" fmla="*/ 1456373 h 4367737"/>
              <a:gd name="connsiteX79" fmla="*/ 23485 w 3068236"/>
              <a:gd name="connsiteY79" fmla="*/ 1428764 h 4367737"/>
              <a:gd name="connsiteX80" fmla="*/ 20722 w 3068236"/>
              <a:gd name="connsiteY80" fmla="*/ 1410818 h 4367737"/>
              <a:gd name="connsiteX81" fmla="*/ 16578 w 3068236"/>
              <a:gd name="connsiteY81" fmla="*/ 1370785 h 4367737"/>
              <a:gd name="connsiteX82" fmla="*/ 15196 w 3068236"/>
              <a:gd name="connsiteY82" fmla="*/ 1354220 h 4367737"/>
              <a:gd name="connsiteX83" fmla="*/ 13815 w 3068236"/>
              <a:gd name="connsiteY83" fmla="*/ 1325230 h 4367737"/>
              <a:gd name="connsiteX84" fmla="*/ 11052 w 3068236"/>
              <a:gd name="connsiteY84" fmla="*/ 1307284 h 4367737"/>
              <a:gd name="connsiteX85" fmla="*/ 9670 w 3068236"/>
              <a:gd name="connsiteY85" fmla="*/ 1275534 h 4367737"/>
              <a:gd name="connsiteX86" fmla="*/ 8289 w 3068236"/>
              <a:gd name="connsiteY86" fmla="*/ 1253447 h 4367737"/>
              <a:gd name="connsiteX87" fmla="*/ 5526 w 3068236"/>
              <a:gd name="connsiteY87" fmla="*/ 1221697 h 4367737"/>
              <a:gd name="connsiteX88" fmla="*/ 5526 w 3068236"/>
              <a:gd name="connsiteY88" fmla="*/ 1202370 h 4367737"/>
              <a:gd name="connsiteX89" fmla="*/ 4145 w 3068236"/>
              <a:gd name="connsiteY89" fmla="*/ 1176142 h 4367737"/>
              <a:gd name="connsiteX90" fmla="*/ 2763 w 3068236"/>
              <a:gd name="connsiteY90" fmla="*/ 1158196 h 4367737"/>
              <a:gd name="connsiteX91" fmla="*/ 1382 w 3068236"/>
              <a:gd name="connsiteY91" fmla="*/ 1118163 h 4367737"/>
              <a:gd name="connsiteX92" fmla="*/ 1382 w 3068236"/>
              <a:gd name="connsiteY92" fmla="*/ 1098837 h 4367737"/>
              <a:gd name="connsiteX93" fmla="*/ 0 w 3068236"/>
              <a:gd name="connsiteY93" fmla="*/ 1073989 h 4367737"/>
              <a:gd name="connsiteX94" fmla="*/ 0 w 3068236"/>
              <a:gd name="connsiteY94" fmla="*/ 1054662 h 4367737"/>
              <a:gd name="connsiteX95" fmla="*/ 0 w 3068236"/>
              <a:gd name="connsiteY95" fmla="*/ 1022912 h 4367737"/>
              <a:gd name="connsiteX96" fmla="*/ 0 w 3068236"/>
              <a:gd name="connsiteY96" fmla="*/ 996684 h 4367737"/>
              <a:gd name="connsiteX97" fmla="*/ 0 w 3068236"/>
              <a:gd name="connsiteY97" fmla="*/ 971835 h 4367737"/>
              <a:gd name="connsiteX98" fmla="*/ 0 w 3068236"/>
              <a:gd name="connsiteY98" fmla="*/ 949748 h 4367737"/>
              <a:gd name="connsiteX99" fmla="*/ 0 w 3068236"/>
              <a:gd name="connsiteY99" fmla="*/ 927661 h 4367737"/>
              <a:gd name="connsiteX100" fmla="*/ 1382 w 3068236"/>
              <a:gd name="connsiteY100" fmla="*/ 895911 h 4367737"/>
              <a:gd name="connsiteX101" fmla="*/ 1382 w 3068236"/>
              <a:gd name="connsiteY101" fmla="*/ 869682 h 4367737"/>
              <a:gd name="connsiteX102" fmla="*/ 2763 w 3068236"/>
              <a:gd name="connsiteY102" fmla="*/ 847595 h 4367737"/>
              <a:gd name="connsiteX103" fmla="*/ 2763 w 3068236"/>
              <a:gd name="connsiteY103" fmla="*/ 826888 h 4367737"/>
              <a:gd name="connsiteX104" fmla="*/ 4145 w 3068236"/>
              <a:gd name="connsiteY104" fmla="*/ 803421 h 4367737"/>
              <a:gd name="connsiteX105" fmla="*/ 5526 w 3068236"/>
              <a:gd name="connsiteY105" fmla="*/ 773051 h 4367737"/>
              <a:gd name="connsiteX106" fmla="*/ 8289 w 3068236"/>
              <a:gd name="connsiteY106" fmla="*/ 744062 h 4367737"/>
              <a:gd name="connsiteX107" fmla="*/ 8289 w 3068236"/>
              <a:gd name="connsiteY107" fmla="*/ 731637 h 4367737"/>
              <a:gd name="connsiteX108" fmla="*/ 11052 w 3068236"/>
              <a:gd name="connsiteY108" fmla="*/ 733018 h 4367737"/>
              <a:gd name="connsiteX109" fmla="*/ 40063 w 3068236"/>
              <a:gd name="connsiteY109" fmla="*/ 745442 h 4367737"/>
              <a:gd name="connsiteX110" fmla="*/ 42826 w 3068236"/>
              <a:gd name="connsiteY110" fmla="*/ 746822 h 4367737"/>
              <a:gd name="connsiteX111" fmla="*/ 71836 w 3068236"/>
              <a:gd name="connsiteY111" fmla="*/ 760627 h 4367737"/>
              <a:gd name="connsiteX112" fmla="*/ 74599 w 3068236"/>
              <a:gd name="connsiteY112" fmla="*/ 762007 h 4367737"/>
              <a:gd name="connsiteX113" fmla="*/ 102229 w 3068236"/>
              <a:gd name="connsiteY113" fmla="*/ 777192 h 4367737"/>
              <a:gd name="connsiteX114" fmla="*/ 107754 w 3068236"/>
              <a:gd name="connsiteY114" fmla="*/ 778573 h 4367737"/>
              <a:gd name="connsiteX115" fmla="*/ 135384 w 3068236"/>
              <a:gd name="connsiteY115" fmla="*/ 795138 h 4367737"/>
              <a:gd name="connsiteX116" fmla="*/ 138147 w 3068236"/>
              <a:gd name="connsiteY116" fmla="*/ 796519 h 4367737"/>
              <a:gd name="connsiteX117" fmla="*/ 165776 w 3068236"/>
              <a:gd name="connsiteY117" fmla="*/ 811703 h 4367737"/>
              <a:gd name="connsiteX118" fmla="*/ 168539 w 3068236"/>
              <a:gd name="connsiteY118" fmla="*/ 813084 h 4367737"/>
              <a:gd name="connsiteX119" fmla="*/ 196168 w 3068236"/>
              <a:gd name="connsiteY119" fmla="*/ 831030 h 4367737"/>
              <a:gd name="connsiteX120" fmla="*/ 201694 w 3068236"/>
              <a:gd name="connsiteY120" fmla="*/ 833791 h 4367737"/>
              <a:gd name="connsiteX121" fmla="*/ 227942 w 3068236"/>
              <a:gd name="connsiteY121" fmla="*/ 851736 h 4367737"/>
              <a:gd name="connsiteX122" fmla="*/ 230705 w 3068236"/>
              <a:gd name="connsiteY122" fmla="*/ 853117 h 4367737"/>
              <a:gd name="connsiteX123" fmla="*/ 256953 w 3068236"/>
              <a:gd name="connsiteY123" fmla="*/ 871063 h 4367737"/>
              <a:gd name="connsiteX124" fmla="*/ 259716 w 3068236"/>
              <a:gd name="connsiteY124" fmla="*/ 873824 h 4367737"/>
              <a:gd name="connsiteX125" fmla="*/ 285964 w 3068236"/>
              <a:gd name="connsiteY125" fmla="*/ 891769 h 4367737"/>
              <a:gd name="connsiteX126" fmla="*/ 291489 w 3068236"/>
              <a:gd name="connsiteY126" fmla="*/ 895911 h 4367737"/>
              <a:gd name="connsiteX127" fmla="*/ 316356 w 3068236"/>
              <a:gd name="connsiteY127" fmla="*/ 916617 h 4367737"/>
              <a:gd name="connsiteX128" fmla="*/ 317737 w 3068236"/>
              <a:gd name="connsiteY128" fmla="*/ 916617 h 4367737"/>
              <a:gd name="connsiteX129" fmla="*/ 342604 w 3068236"/>
              <a:gd name="connsiteY129" fmla="*/ 937324 h 4367737"/>
              <a:gd name="connsiteX130" fmla="*/ 346748 w 3068236"/>
              <a:gd name="connsiteY130" fmla="*/ 941466 h 4367737"/>
              <a:gd name="connsiteX131" fmla="*/ 371614 w 3068236"/>
              <a:gd name="connsiteY131" fmla="*/ 962172 h 4367737"/>
              <a:gd name="connsiteX132" fmla="*/ 375759 w 3068236"/>
              <a:gd name="connsiteY132" fmla="*/ 966314 h 4367737"/>
              <a:gd name="connsiteX133" fmla="*/ 400625 w 3068236"/>
              <a:gd name="connsiteY133" fmla="*/ 988401 h 4367737"/>
              <a:gd name="connsiteX134" fmla="*/ 402007 w 3068236"/>
              <a:gd name="connsiteY134" fmla="*/ 989781 h 4367737"/>
              <a:gd name="connsiteX135" fmla="*/ 425492 w 3068236"/>
              <a:gd name="connsiteY135" fmla="*/ 1011868 h 4367737"/>
              <a:gd name="connsiteX136" fmla="*/ 429636 w 3068236"/>
              <a:gd name="connsiteY136" fmla="*/ 1016010 h 4367737"/>
              <a:gd name="connsiteX137" fmla="*/ 453121 w 3068236"/>
              <a:gd name="connsiteY137" fmla="*/ 1039477 h 4367737"/>
              <a:gd name="connsiteX138" fmla="*/ 457265 w 3068236"/>
              <a:gd name="connsiteY138" fmla="*/ 1044999 h 4367737"/>
              <a:gd name="connsiteX139" fmla="*/ 479369 w 3068236"/>
              <a:gd name="connsiteY139" fmla="*/ 1069847 h 4367737"/>
              <a:gd name="connsiteX140" fmla="*/ 1743410 w 3068236"/>
              <a:gd name="connsiteY140" fmla="*/ 1490884 h 4367737"/>
              <a:gd name="connsiteX141" fmla="*/ 1786236 w 3068236"/>
              <a:gd name="connsiteY141" fmla="*/ 1482601 h 4367737"/>
              <a:gd name="connsiteX142" fmla="*/ 2124695 w 3068236"/>
              <a:gd name="connsiteY142" fmla="*/ 1355600 h 4367737"/>
              <a:gd name="connsiteX143" fmla="*/ 2388555 w 3068236"/>
              <a:gd name="connsiteY143" fmla="*/ 1169240 h 4367737"/>
              <a:gd name="connsiteX144" fmla="*/ 2762932 w 3068236"/>
              <a:gd name="connsiteY144" fmla="*/ 603256 h 4367737"/>
              <a:gd name="connsiteX145" fmla="*/ 2775365 w 3068236"/>
              <a:gd name="connsiteY145" fmla="*/ 563223 h 4367737"/>
              <a:gd name="connsiteX146" fmla="*/ 3066855 w 3068236"/>
              <a:gd name="connsiteY146" fmla="*/ 80066 h 4367737"/>
              <a:gd name="connsiteX147" fmla="*/ 3066855 w 3068236"/>
              <a:gd name="connsiteY147" fmla="*/ 0 h 436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3068236" h="4367737">
                <a:moveTo>
                  <a:pt x="3066855" y="0"/>
                </a:moveTo>
                <a:lnTo>
                  <a:pt x="3068236" y="0"/>
                </a:lnTo>
                <a:cubicBezTo>
                  <a:pt x="3068236" y="0"/>
                  <a:pt x="3068236" y="0"/>
                  <a:pt x="3068236" y="4367737"/>
                </a:cubicBezTo>
                <a:cubicBezTo>
                  <a:pt x="3068236" y="4367737"/>
                  <a:pt x="3068236" y="4367737"/>
                  <a:pt x="1362126" y="4367737"/>
                </a:cubicBezTo>
                <a:cubicBezTo>
                  <a:pt x="1333115" y="4008821"/>
                  <a:pt x="951830" y="3609871"/>
                  <a:pt x="951830" y="3609871"/>
                </a:cubicBezTo>
                <a:cubicBezTo>
                  <a:pt x="947686" y="3602969"/>
                  <a:pt x="942160" y="3597447"/>
                  <a:pt x="936634" y="3590545"/>
                </a:cubicBezTo>
                <a:cubicBezTo>
                  <a:pt x="926964" y="3579501"/>
                  <a:pt x="918675" y="3568458"/>
                  <a:pt x="909005" y="3557414"/>
                </a:cubicBezTo>
                <a:cubicBezTo>
                  <a:pt x="904860" y="3551892"/>
                  <a:pt x="900716" y="3547751"/>
                  <a:pt x="896572" y="3542229"/>
                </a:cubicBezTo>
                <a:cubicBezTo>
                  <a:pt x="885520" y="3528425"/>
                  <a:pt x="874468" y="3514620"/>
                  <a:pt x="864798" y="3502196"/>
                </a:cubicBezTo>
                <a:cubicBezTo>
                  <a:pt x="862035" y="3498055"/>
                  <a:pt x="859272" y="3495294"/>
                  <a:pt x="856509" y="3491153"/>
                </a:cubicBezTo>
                <a:cubicBezTo>
                  <a:pt x="842694" y="3474587"/>
                  <a:pt x="830261" y="3458022"/>
                  <a:pt x="817828" y="3440076"/>
                </a:cubicBezTo>
                <a:cubicBezTo>
                  <a:pt x="816447" y="3440076"/>
                  <a:pt x="816447" y="3440076"/>
                  <a:pt x="816447" y="3438696"/>
                </a:cubicBezTo>
                <a:cubicBezTo>
                  <a:pt x="804013" y="3422130"/>
                  <a:pt x="791580" y="3405565"/>
                  <a:pt x="779147" y="3389000"/>
                </a:cubicBezTo>
                <a:cubicBezTo>
                  <a:pt x="775003" y="3384858"/>
                  <a:pt x="772240" y="3379336"/>
                  <a:pt x="768095" y="3373815"/>
                </a:cubicBezTo>
                <a:cubicBezTo>
                  <a:pt x="759807" y="3361391"/>
                  <a:pt x="750136" y="3348967"/>
                  <a:pt x="741847" y="3337923"/>
                </a:cubicBezTo>
                <a:cubicBezTo>
                  <a:pt x="737703" y="3331021"/>
                  <a:pt x="733559" y="3324119"/>
                  <a:pt x="728033" y="3318597"/>
                </a:cubicBezTo>
                <a:cubicBezTo>
                  <a:pt x="721125" y="3307553"/>
                  <a:pt x="712837" y="3296510"/>
                  <a:pt x="704548" y="3284086"/>
                </a:cubicBezTo>
                <a:cubicBezTo>
                  <a:pt x="700403" y="3277183"/>
                  <a:pt x="696259" y="3270281"/>
                  <a:pt x="690733" y="3263379"/>
                </a:cubicBezTo>
                <a:cubicBezTo>
                  <a:pt x="683826" y="3252335"/>
                  <a:pt x="676919" y="3242672"/>
                  <a:pt x="670011" y="3231629"/>
                </a:cubicBezTo>
                <a:cubicBezTo>
                  <a:pt x="664485" y="3223346"/>
                  <a:pt x="658960" y="3216444"/>
                  <a:pt x="654815" y="3209541"/>
                </a:cubicBezTo>
                <a:cubicBezTo>
                  <a:pt x="647908" y="3198498"/>
                  <a:pt x="641000" y="3187454"/>
                  <a:pt x="634093" y="3177791"/>
                </a:cubicBezTo>
                <a:cubicBezTo>
                  <a:pt x="629949" y="3169508"/>
                  <a:pt x="624423" y="3161226"/>
                  <a:pt x="620278" y="3154323"/>
                </a:cubicBezTo>
                <a:cubicBezTo>
                  <a:pt x="613371" y="3143280"/>
                  <a:pt x="606464" y="3133617"/>
                  <a:pt x="599556" y="3122573"/>
                </a:cubicBezTo>
                <a:cubicBezTo>
                  <a:pt x="595412" y="3114290"/>
                  <a:pt x="589886" y="3107388"/>
                  <a:pt x="585742" y="3099106"/>
                </a:cubicBezTo>
                <a:cubicBezTo>
                  <a:pt x="578834" y="3088062"/>
                  <a:pt x="573309" y="3078399"/>
                  <a:pt x="566401" y="3067355"/>
                </a:cubicBezTo>
                <a:cubicBezTo>
                  <a:pt x="562257" y="3059073"/>
                  <a:pt x="556731" y="3050790"/>
                  <a:pt x="552587" y="3042507"/>
                </a:cubicBezTo>
                <a:cubicBezTo>
                  <a:pt x="545679" y="3032844"/>
                  <a:pt x="540153" y="3021800"/>
                  <a:pt x="534628" y="3012137"/>
                </a:cubicBezTo>
                <a:cubicBezTo>
                  <a:pt x="529102" y="3003855"/>
                  <a:pt x="524957" y="2995572"/>
                  <a:pt x="519431" y="2985909"/>
                </a:cubicBezTo>
                <a:cubicBezTo>
                  <a:pt x="513905" y="2976246"/>
                  <a:pt x="508380" y="2965202"/>
                  <a:pt x="502854" y="2955539"/>
                </a:cubicBezTo>
                <a:cubicBezTo>
                  <a:pt x="497328" y="2947256"/>
                  <a:pt x="493184" y="2937593"/>
                  <a:pt x="489039" y="2929310"/>
                </a:cubicBezTo>
                <a:cubicBezTo>
                  <a:pt x="483513" y="2919647"/>
                  <a:pt x="477987" y="2908604"/>
                  <a:pt x="472462" y="2898941"/>
                </a:cubicBezTo>
                <a:cubicBezTo>
                  <a:pt x="466936" y="2889277"/>
                  <a:pt x="462791" y="2880995"/>
                  <a:pt x="458647" y="2871332"/>
                </a:cubicBezTo>
                <a:cubicBezTo>
                  <a:pt x="453121" y="2861669"/>
                  <a:pt x="447595" y="2850625"/>
                  <a:pt x="442069" y="2840962"/>
                </a:cubicBezTo>
                <a:cubicBezTo>
                  <a:pt x="437925" y="2831299"/>
                  <a:pt x="432399" y="2823016"/>
                  <a:pt x="428255" y="2813353"/>
                </a:cubicBezTo>
                <a:cubicBezTo>
                  <a:pt x="422729" y="2803690"/>
                  <a:pt x="418584" y="2792646"/>
                  <a:pt x="413058" y="2782983"/>
                </a:cubicBezTo>
                <a:cubicBezTo>
                  <a:pt x="408914" y="2773320"/>
                  <a:pt x="403388" y="2763657"/>
                  <a:pt x="399244" y="2755374"/>
                </a:cubicBezTo>
                <a:cubicBezTo>
                  <a:pt x="395099" y="2744330"/>
                  <a:pt x="389574" y="2734667"/>
                  <a:pt x="384048" y="2723624"/>
                </a:cubicBezTo>
                <a:cubicBezTo>
                  <a:pt x="379903" y="2713961"/>
                  <a:pt x="375759" y="2705678"/>
                  <a:pt x="371614" y="2696015"/>
                </a:cubicBezTo>
                <a:cubicBezTo>
                  <a:pt x="367470" y="2684971"/>
                  <a:pt x="361944" y="2675308"/>
                  <a:pt x="357800" y="2664264"/>
                </a:cubicBezTo>
                <a:cubicBezTo>
                  <a:pt x="353655" y="2654601"/>
                  <a:pt x="349511" y="2644938"/>
                  <a:pt x="345367" y="2635275"/>
                </a:cubicBezTo>
                <a:cubicBezTo>
                  <a:pt x="339841" y="2625612"/>
                  <a:pt x="335696" y="2614568"/>
                  <a:pt x="331552" y="2604905"/>
                </a:cubicBezTo>
                <a:cubicBezTo>
                  <a:pt x="327408" y="2595242"/>
                  <a:pt x="323263" y="2585579"/>
                  <a:pt x="319119" y="2575916"/>
                </a:cubicBezTo>
                <a:cubicBezTo>
                  <a:pt x="314974" y="2564872"/>
                  <a:pt x="309449" y="2553829"/>
                  <a:pt x="305304" y="2544166"/>
                </a:cubicBezTo>
                <a:cubicBezTo>
                  <a:pt x="301160" y="2534502"/>
                  <a:pt x="297015" y="2524839"/>
                  <a:pt x="294252" y="2515176"/>
                </a:cubicBezTo>
                <a:cubicBezTo>
                  <a:pt x="290108" y="2504133"/>
                  <a:pt x="285964" y="2493089"/>
                  <a:pt x="281819" y="2482045"/>
                </a:cubicBezTo>
                <a:cubicBezTo>
                  <a:pt x="277675" y="2472382"/>
                  <a:pt x="273530" y="2462719"/>
                  <a:pt x="269386" y="2453056"/>
                </a:cubicBezTo>
                <a:cubicBezTo>
                  <a:pt x="265242" y="2442012"/>
                  <a:pt x="261097" y="2432349"/>
                  <a:pt x="256953" y="2421306"/>
                </a:cubicBezTo>
                <a:cubicBezTo>
                  <a:pt x="254190" y="2411643"/>
                  <a:pt x="250045" y="2400599"/>
                  <a:pt x="245901" y="2390936"/>
                </a:cubicBezTo>
                <a:cubicBezTo>
                  <a:pt x="243138" y="2379892"/>
                  <a:pt x="238994" y="2370229"/>
                  <a:pt x="234849" y="2359186"/>
                </a:cubicBezTo>
                <a:cubicBezTo>
                  <a:pt x="230705" y="2349522"/>
                  <a:pt x="227942" y="2338479"/>
                  <a:pt x="223798" y="2328816"/>
                </a:cubicBezTo>
                <a:cubicBezTo>
                  <a:pt x="221035" y="2317772"/>
                  <a:pt x="216890" y="2306728"/>
                  <a:pt x="214127" y="2297065"/>
                </a:cubicBezTo>
                <a:cubicBezTo>
                  <a:pt x="209983" y="2286022"/>
                  <a:pt x="205839" y="2274978"/>
                  <a:pt x="203076" y="2265315"/>
                </a:cubicBezTo>
                <a:cubicBezTo>
                  <a:pt x="198931" y="2254271"/>
                  <a:pt x="196168" y="2244608"/>
                  <a:pt x="193405" y="2233565"/>
                </a:cubicBezTo>
                <a:cubicBezTo>
                  <a:pt x="189261" y="2222521"/>
                  <a:pt x="186498" y="2212858"/>
                  <a:pt x="182354" y="2201814"/>
                </a:cubicBezTo>
                <a:cubicBezTo>
                  <a:pt x="179591" y="2190771"/>
                  <a:pt x="176828" y="2181108"/>
                  <a:pt x="172683" y="2170064"/>
                </a:cubicBezTo>
                <a:cubicBezTo>
                  <a:pt x="169920" y="2159021"/>
                  <a:pt x="167158" y="2147977"/>
                  <a:pt x="163013" y="2136933"/>
                </a:cubicBezTo>
                <a:cubicBezTo>
                  <a:pt x="160250" y="2127270"/>
                  <a:pt x="157487" y="2117607"/>
                  <a:pt x="154724" y="2107944"/>
                </a:cubicBezTo>
                <a:cubicBezTo>
                  <a:pt x="151961" y="2095520"/>
                  <a:pt x="147817" y="2084476"/>
                  <a:pt x="145054" y="2072052"/>
                </a:cubicBezTo>
                <a:cubicBezTo>
                  <a:pt x="142291" y="2063770"/>
                  <a:pt x="139528" y="2054107"/>
                  <a:pt x="138147" y="2044443"/>
                </a:cubicBezTo>
                <a:cubicBezTo>
                  <a:pt x="134002" y="2032019"/>
                  <a:pt x="131239" y="2019595"/>
                  <a:pt x="127095" y="2007171"/>
                </a:cubicBezTo>
                <a:cubicBezTo>
                  <a:pt x="125714" y="2000269"/>
                  <a:pt x="124332" y="1991986"/>
                  <a:pt x="121569" y="1985084"/>
                </a:cubicBezTo>
                <a:cubicBezTo>
                  <a:pt x="113280" y="1949193"/>
                  <a:pt x="104992" y="1913301"/>
                  <a:pt x="96703" y="1876029"/>
                </a:cubicBezTo>
                <a:cubicBezTo>
                  <a:pt x="95321" y="1871887"/>
                  <a:pt x="95321" y="1867746"/>
                  <a:pt x="93940" y="1863605"/>
                </a:cubicBezTo>
                <a:cubicBezTo>
                  <a:pt x="91177" y="1853942"/>
                  <a:pt x="89795" y="1844279"/>
                  <a:pt x="87032" y="1833235"/>
                </a:cubicBezTo>
                <a:cubicBezTo>
                  <a:pt x="85651" y="1827713"/>
                  <a:pt x="84270" y="1820811"/>
                  <a:pt x="82888" y="1813909"/>
                </a:cubicBezTo>
                <a:cubicBezTo>
                  <a:pt x="81507" y="1805626"/>
                  <a:pt x="80125" y="1795963"/>
                  <a:pt x="77362" y="1786300"/>
                </a:cubicBezTo>
                <a:cubicBezTo>
                  <a:pt x="75981" y="1780778"/>
                  <a:pt x="75981" y="1775256"/>
                  <a:pt x="74599" y="1769734"/>
                </a:cubicBezTo>
                <a:cubicBezTo>
                  <a:pt x="71836" y="1755930"/>
                  <a:pt x="69073" y="1742125"/>
                  <a:pt x="66310" y="1728321"/>
                </a:cubicBezTo>
                <a:cubicBezTo>
                  <a:pt x="64929" y="1722799"/>
                  <a:pt x="64929" y="1717277"/>
                  <a:pt x="63548" y="1710375"/>
                </a:cubicBezTo>
                <a:cubicBezTo>
                  <a:pt x="62166" y="1702092"/>
                  <a:pt x="59403" y="1692429"/>
                  <a:pt x="58022" y="1682766"/>
                </a:cubicBezTo>
                <a:cubicBezTo>
                  <a:pt x="58022" y="1677244"/>
                  <a:pt x="56640" y="1670342"/>
                  <a:pt x="55259" y="1664820"/>
                </a:cubicBezTo>
                <a:cubicBezTo>
                  <a:pt x="52496" y="1651016"/>
                  <a:pt x="51114" y="1637211"/>
                  <a:pt x="48351" y="1623407"/>
                </a:cubicBezTo>
                <a:cubicBezTo>
                  <a:pt x="48351" y="1619266"/>
                  <a:pt x="46970" y="1613744"/>
                  <a:pt x="46970" y="1609602"/>
                </a:cubicBezTo>
                <a:cubicBezTo>
                  <a:pt x="45589" y="1598559"/>
                  <a:pt x="42826" y="1588896"/>
                  <a:pt x="41444" y="1579233"/>
                </a:cubicBezTo>
                <a:cubicBezTo>
                  <a:pt x="41444" y="1572330"/>
                  <a:pt x="40063" y="1566808"/>
                  <a:pt x="38681" y="1561287"/>
                </a:cubicBezTo>
                <a:cubicBezTo>
                  <a:pt x="37300" y="1550243"/>
                  <a:pt x="35918" y="1540580"/>
                  <a:pt x="34537" y="1529536"/>
                </a:cubicBezTo>
                <a:cubicBezTo>
                  <a:pt x="34537" y="1525395"/>
                  <a:pt x="34537" y="1519873"/>
                  <a:pt x="33155" y="1515732"/>
                </a:cubicBezTo>
                <a:cubicBezTo>
                  <a:pt x="31774" y="1501927"/>
                  <a:pt x="30392" y="1488123"/>
                  <a:pt x="27629" y="1474318"/>
                </a:cubicBezTo>
                <a:cubicBezTo>
                  <a:pt x="27629" y="1468797"/>
                  <a:pt x="26248" y="1463275"/>
                  <a:pt x="26248" y="1456373"/>
                </a:cubicBezTo>
                <a:cubicBezTo>
                  <a:pt x="24867" y="1446710"/>
                  <a:pt x="23485" y="1438427"/>
                  <a:pt x="23485" y="1428764"/>
                </a:cubicBezTo>
                <a:cubicBezTo>
                  <a:pt x="22104" y="1423242"/>
                  <a:pt x="22104" y="1416340"/>
                  <a:pt x="20722" y="1410818"/>
                </a:cubicBezTo>
                <a:cubicBezTo>
                  <a:pt x="19341" y="1397013"/>
                  <a:pt x="17959" y="1384589"/>
                  <a:pt x="16578" y="1370785"/>
                </a:cubicBezTo>
                <a:cubicBezTo>
                  <a:pt x="16578" y="1365263"/>
                  <a:pt x="16578" y="1359741"/>
                  <a:pt x="15196" y="1354220"/>
                </a:cubicBezTo>
                <a:cubicBezTo>
                  <a:pt x="15196" y="1344556"/>
                  <a:pt x="13815" y="1334893"/>
                  <a:pt x="13815" y="1325230"/>
                </a:cubicBezTo>
                <a:cubicBezTo>
                  <a:pt x="12433" y="1319708"/>
                  <a:pt x="12433" y="1312806"/>
                  <a:pt x="11052" y="1307284"/>
                </a:cubicBezTo>
                <a:cubicBezTo>
                  <a:pt x="11052" y="1296241"/>
                  <a:pt x="9670" y="1285197"/>
                  <a:pt x="9670" y="1275534"/>
                </a:cubicBezTo>
                <a:cubicBezTo>
                  <a:pt x="8289" y="1267251"/>
                  <a:pt x="8289" y="1260349"/>
                  <a:pt x="8289" y="1253447"/>
                </a:cubicBezTo>
                <a:cubicBezTo>
                  <a:pt x="6907" y="1242403"/>
                  <a:pt x="6907" y="1232740"/>
                  <a:pt x="5526" y="1221697"/>
                </a:cubicBezTo>
                <a:cubicBezTo>
                  <a:pt x="5526" y="1216175"/>
                  <a:pt x="5526" y="1209273"/>
                  <a:pt x="5526" y="1202370"/>
                </a:cubicBezTo>
                <a:cubicBezTo>
                  <a:pt x="4145" y="1194088"/>
                  <a:pt x="4145" y="1185805"/>
                  <a:pt x="4145" y="1176142"/>
                </a:cubicBezTo>
                <a:cubicBezTo>
                  <a:pt x="4145" y="1170620"/>
                  <a:pt x="2763" y="1163718"/>
                  <a:pt x="2763" y="1158196"/>
                </a:cubicBezTo>
                <a:cubicBezTo>
                  <a:pt x="2763" y="1144391"/>
                  <a:pt x="1382" y="1131967"/>
                  <a:pt x="1382" y="1118163"/>
                </a:cubicBezTo>
                <a:cubicBezTo>
                  <a:pt x="1382" y="1112641"/>
                  <a:pt x="1382" y="1105739"/>
                  <a:pt x="1382" y="1098837"/>
                </a:cubicBezTo>
                <a:cubicBezTo>
                  <a:pt x="1382" y="1090554"/>
                  <a:pt x="0" y="1082271"/>
                  <a:pt x="0" y="1073989"/>
                </a:cubicBezTo>
                <a:cubicBezTo>
                  <a:pt x="0" y="1068467"/>
                  <a:pt x="0" y="1061565"/>
                  <a:pt x="0" y="1054662"/>
                </a:cubicBezTo>
                <a:cubicBezTo>
                  <a:pt x="0" y="1043619"/>
                  <a:pt x="0" y="1033956"/>
                  <a:pt x="0" y="1022912"/>
                </a:cubicBezTo>
                <a:cubicBezTo>
                  <a:pt x="0" y="1014629"/>
                  <a:pt x="0" y="1004966"/>
                  <a:pt x="0" y="996684"/>
                </a:cubicBezTo>
                <a:cubicBezTo>
                  <a:pt x="0" y="988401"/>
                  <a:pt x="0" y="980118"/>
                  <a:pt x="0" y="971835"/>
                </a:cubicBezTo>
                <a:cubicBezTo>
                  <a:pt x="0" y="964933"/>
                  <a:pt x="0" y="958031"/>
                  <a:pt x="0" y="949748"/>
                </a:cubicBezTo>
                <a:cubicBezTo>
                  <a:pt x="0" y="942846"/>
                  <a:pt x="0" y="934563"/>
                  <a:pt x="0" y="927661"/>
                </a:cubicBezTo>
                <a:cubicBezTo>
                  <a:pt x="0" y="916617"/>
                  <a:pt x="1382" y="906954"/>
                  <a:pt x="1382" y="895911"/>
                </a:cubicBezTo>
                <a:cubicBezTo>
                  <a:pt x="1382" y="887628"/>
                  <a:pt x="1382" y="877965"/>
                  <a:pt x="1382" y="869682"/>
                </a:cubicBezTo>
                <a:cubicBezTo>
                  <a:pt x="1382" y="862780"/>
                  <a:pt x="2763" y="854497"/>
                  <a:pt x="2763" y="847595"/>
                </a:cubicBezTo>
                <a:cubicBezTo>
                  <a:pt x="2763" y="840693"/>
                  <a:pt x="2763" y="833791"/>
                  <a:pt x="2763" y="826888"/>
                </a:cubicBezTo>
                <a:cubicBezTo>
                  <a:pt x="4145" y="818606"/>
                  <a:pt x="4145" y="811703"/>
                  <a:pt x="4145" y="803421"/>
                </a:cubicBezTo>
                <a:cubicBezTo>
                  <a:pt x="5526" y="793758"/>
                  <a:pt x="5526" y="782714"/>
                  <a:pt x="5526" y="773051"/>
                </a:cubicBezTo>
                <a:cubicBezTo>
                  <a:pt x="6907" y="763388"/>
                  <a:pt x="6907" y="753725"/>
                  <a:pt x="8289" y="744062"/>
                </a:cubicBezTo>
                <a:cubicBezTo>
                  <a:pt x="8289" y="739920"/>
                  <a:pt x="8289" y="735779"/>
                  <a:pt x="8289" y="731637"/>
                </a:cubicBezTo>
                <a:cubicBezTo>
                  <a:pt x="9670" y="731637"/>
                  <a:pt x="9670" y="733018"/>
                  <a:pt x="11052" y="733018"/>
                </a:cubicBezTo>
                <a:cubicBezTo>
                  <a:pt x="20722" y="737159"/>
                  <a:pt x="30392" y="741301"/>
                  <a:pt x="40063" y="745442"/>
                </a:cubicBezTo>
                <a:cubicBezTo>
                  <a:pt x="41444" y="746822"/>
                  <a:pt x="42826" y="746822"/>
                  <a:pt x="42826" y="746822"/>
                </a:cubicBezTo>
                <a:cubicBezTo>
                  <a:pt x="52496" y="752344"/>
                  <a:pt x="62166" y="756486"/>
                  <a:pt x="71836" y="760627"/>
                </a:cubicBezTo>
                <a:cubicBezTo>
                  <a:pt x="71836" y="760627"/>
                  <a:pt x="73218" y="762007"/>
                  <a:pt x="74599" y="762007"/>
                </a:cubicBezTo>
                <a:cubicBezTo>
                  <a:pt x="84270" y="766149"/>
                  <a:pt x="92558" y="771670"/>
                  <a:pt x="102229" y="777192"/>
                </a:cubicBezTo>
                <a:cubicBezTo>
                  <a:pt x="104992" y="777192"/>
                  <a:pt x="106373" y="778573"/>
                  <a:pt x="107754" y="778573"/>
                </a:cubicBezTo>
                <a:cubicBezTo>
                  <a:pt x="117425" y="784095"/>
                  <a:pt x="127095" y="789616"/>
                  <a:pt x="135384" y="795138"/>
                </a:cubicBezTo>
                <a:cubicBezTo>
                  <a:pt x="136765" y="795138"/>
                  <a:pt x="138147" y="795138"/>
                  <a:pt x="138147" y="796519"/>
                </a:cubicBezTo>
                <a:cubicBezTo>
                  <a:pt x="147817" y="800660"/>
                  <a:pt x="156106" y="806182"/>
                  <a:pt x="165776" y="811703"/>
                </a:cubicBezTo>
                <a:cubicBezTo>
                  <a:pt x="167158" y="811703"/>
                  <a:pt x="167158" y="813084"/>
                  <a:pt x="168539" y="813084"/>
                </a:cubicBezTo>
                <a:cubicBezTo>
                  <a:pt x="178209" y="818606"/>
                  <a:pt x="186498" y="824128"/>
                  <a:pt x="196168" y="831030"/>
                </a:cubicBezTo>
                <a:cubicBezTo>
                  <a:pt x="197550" y="831030"/>
                  <a:pt x="198931" y="832410"/>
                  <a:pt x="201694" y="833791"/>
                </a:cubicBezTo>
                <a:cubicBezTo>
                  <a:pt x="209983" y="839312"/>
                  <a:pt x="219653" y="844834"/>
                  <a:pt x="227942" y="851736"/>
                </a:cubicBezTo>
                <a:cubicBezTo>
                  <a:pt x="229323" y="851736"/>
                  <a:pt x="229323" y="851736"/>
                  <a:pt x="230705" y="853117"/>
                </a:cubicBezTo>
                <a:cubicBezTo>
                  <a:pt x="238994" y="858639"/>
                  <a:pt x="247283" y="864161"/>
                  <a:pt x="256953" y="871063"/>
                </a:cubicBezTo>
                <a:cubicBezTo>
                  <a:pt x="258334" y="871063"/>
                  <a:pt x="258334" y="872443"/>
                  <a:pt x="259716" y="873824"/>
                </a:cubicBezTo>
                <a:cubicBezTo>
                  <a:pt x="269386" y="879345"/>
                  <a:pt x="277675" y="886248"/>
                  <a:pt x="285964" y="891769"/>
                </a:cubicBezTo>
                <a:cubicBezTo>
                  <a:pt x="287345" y="893150"/>
                  <a:pt x="288727" y="894530"/>
                  <a:pt x="291489" y="895911"/>
                </a:cubicBezTo>
                <a:cubicBezTo>
                  <a:pt x="299778" y="902813"/>
                  <a:pt x="308067" y="909715"/>
                  <a:pt x="316356" y="916617"/>
                </a:cubicBezTo>
                <a:cubicBezTo>
                  <a:pt x="317737" y="916617"/>
                  <a:pt x="317737" y="916617"/>
                  <a:pt x="317737" y="916617"/>
                </a:cubicBezTo>
                <a:cubicBezTo>
                  <a:pt x="326026" y="923520"/>
                  <a:pt x="334315" y="930422"/>
                  <a:pt x="342604" y="937324"/>
                </a:cubicBezTo>
                <a:cubicBezTo>
                  <a:pt x="343985" y="938705"/>
                  <a:pt x="345367" y="940085"/>
                  <a:pt x="346748" y="941466"/>
                </a:cubicBezTo>
                <a:cubicBezTo>
                  <a:pt x="355037" y="948368"/>
                  <a:pt x="363326" y="955270"/>
                  <a:pt x="371614" y="962172"/>
                </a:cubicBezTo>
                <a:cubicBezTo>
                  <a:pt x="372996" y="963553"/>
                  <a:pt x="374377" y="964933"/>
                  <a:pt x="375759" y="966314"/>
                </a:cubicBezTo>
                <a:cubicBezTo>
                  <a:pt x="384048" y="973216"/>
                  <a:pt x="392336" y="981499"/>
                  <a:pt x="400625" y="988401"/>
                </a:cubicBezTo>
                <a:cubicBezTo>
                  <a:pt x="400625" y="988401"/>
                  <a:pt x="402007" y="989781"/>
                  <a:pt x="402007" y="989781"/>
                </a:cubicBezTo>
                <a:cubicBezTo>
                  <a:pt x="408914" y="996684"/>
                  <a:pt x="417203" y="1004966"/>
                  <a:pt x="425492" y="1011868"/>
                </a:cubicBezTo>
                <a:cubicBezTo>
                  <a:pt x="426873" y="1013249"/>
                  <a:pt x="428255" y="1014629"/>
                  <a:pt x="429636" y="1016010"/>
                </a:cubicBezTo>
                <a:cubicBezTo>
                  <a:pt x="436543" y="1024292"/>
                  <a:pt x="444832" y="1032575"/>
                  <a:pt x="453121" y="1039477"/>
                </a:cubicBezTo>
                <a:cubicBezTo>
                  <a:pt x="454502" y="1040858"/>
                  <a:pt x="455884" y="1043619"/>
                  <a:pt x="457265" y="1044999"/>
                </a:cubicBezTo>
                <a:cubicBezTo>
                  <a:pt x="464173" y="1053282"/>
                  <a:pt x="472462" y="1061565"/>
                  <a:pt x="479369" y="1069847"/>
                </a:cubicBezTo>
                <a:cubicBezTo>
                  <a:pt x="809539" y="1435666"/>
                  <a:pt x="1293052" y="1579233"/>
                  <a:pt x="1743410" y="1490884"/>
                </a:cubicBezTo>
                <a:cubicBezTo>
                  <a:pt x="1758606" y="1488123"/>
                  <a:pt x="1772421" y="1485362"/>
                  <a:pt x="1786236" y="1482601"/>
                </a:cubicBezTo>
                <a:cubicBezTo>
                  <a:pt x="1902279" y="1456373"/>
                  <a:pt x="2016941" y="1413579"/>
                  <a:pt x="2124695" y="1355600"/>
                </a:cubicBezTo>
                <a:cubicBezTo>
                  <a:pt x="2217253" y="1305904"/>
                  <a:pt x="2305667" y="1243784"/>
                  <a:pt x="2388555" y="1169240"/>
                </a:cubicBezTo>
                <a:cubicBezTo>
                  <a:pt x="2565382" y="1010488"/>
                  <a:pt x="2691096" y="814464"/>
                  <a:pt x="2762932" y="603256"/>
                </a:cubicBezTo>
                <a:cubicBezTo>
                  <a:pt x="2767077" y="590832"/>
                  <a:pt x="2771221" y="577027"/>
                  <a:pt x="2775365" y="563223"/>
                </a:cubicBezTo>
                <a:cubicBezTo>
                  <a:pt x="2836150" y="386526"/>
                  <a:pt x="2932852" y="222252"/>
                  <a:pt x="3066855" y="80066"/>
                </a:cubicBezTo>
                <a:cubicBezTo>
                  <a:pt x="3066855" y="80066"/>
                  <a:pt x="3066855" y="80066"/>
                  <a:pt x="3066855" y="0"/>
                </a:cubicBezTo>
                <a:close/>
              </a:path>
            </a:pathLst>
          </a:custGeom>
        </p:spPr>
        <p:txBody>
          <a:bodyPr wrap="square" tIns="28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11672BA-6F75-11F6-0CF9-BA902D3E2D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7725504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Blue, Image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curved lines on a white background&#10;&#10;Description automatically generated">
            <a:extLst>
              <a:ext uri="{FF2B5EF4-FFF2-40B4-BE49-F238E27FC236}">
                <a16:creationId xmlns:a16="http://schemas.microsoft.com/office/drawing/2014/main" id="{8139B06D-7A56-C332-8F4A-833416AF8A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250" y="0"/>
            <a:ext cx="727075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16CB2F5-C0C9-F0F5-7704-34DB09B098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02078" y="0"/>
            <a:ext cx="4989922" cy="4664984"/>
          </a:xfrm>
          <a:custGeom>
            <a:avLst/>
            <a:gdLst>
              <a:gd name="connsiteX0" fmla="*/ 1754568 w 5022410"/>
              <a:gd name="connsiteY0" fmla="*/ 4150388 h 4695356"/>
              <a:gd name="connsiteX1" fmla="*/ 1786212 w 5022410"/>
              <a:gd name="connsiteY1" fmla="*/ 4166845 h 4695356"/>
              <a:gd name="connsiteX2" fmla="*/ 1792919 w 5022410"/>
              <a:gd name="connsiteY2" fmla="*/ 4171164 h 4695356"/>
              <a:gd name="connsiteX3" fmla="*/ 1754568 w 5022410"/>
              <a:gd name="connsiteY3" fmla="*/ 4150388 h 4695356"/>
              <a:gd name="connsiteX4" fmla="*/ 137425 w 5022410"/>
              <a:gd name="connsiteY4" fmla="*/ 0 h 4695356"/>
              <a:gd name="connsiteX5" fmla="*/ 158947 w 5022410"/>
              <a:gd name="connsiteY5" fmla="*/ 0 h 4695356"/>
              <a:gd name="connsiteX6" fmla="*/ 5022410 w 5022410"/>
              <a:gd name="connsiteY6" fmla="*/ 0 h 4695356"/>
              <a:gd name="connsiteX7" fmla="*/ 5022410 w 5022410"/>
              <a:gd name="connsiteY7" fmla="*/ 4446045 h 4695356"/>
              <a:gd name="connsiteX8" fmla="*/ 3689706 w 5022410"/>
              <a:gd name="connsiteY8" fmla="*/ 4695356 h 4695356"/>
              <a:gd name="connsiteX9" fmla="*/ 3032941 w 5022410"/>
              <a:gd name="connsiteY9" fmla="*/ 4637823 h 4695356"/>
              <a:gd name="connsiteX10" fmla="*/ 1794517 w 5022410"/>
              <a:gd name="connsiteY10" fmla="*/ 4171164 h 4695356"/>
              <a:gd name="connsiteX11" fmla="*/ 1786212 w 5022410"/>
              <a:gd name="connsiteY11" fmla="*/ 4166845 h 4695356"/>
              <a:gd name="connsiteX12" fmla="*/ 1595821 w 5022410"/>
              <a:gd name="connsiteY12" fmla="*/ 4044239 h 4695356"/>
              <a:gd name="connsiteX13" fmla="*/ 0 w 5022410"/>
              <a:gd name="connsiteY13" fmla="*/ 1005235 h 4695356"/>
              <a:gd name="connsiteX14" fmla="*/ 137425 w 5022410"/>
              <a:gd name="connsiteY14" fmla="*/ 0 h 4695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022410" h="4695356">
                <a:moveTo>
                  <a:pt x="1754568" y="4150388"/>
                </a:moveTo>
                <a:lnTo>
                  <a:pt x="1786212" y="4166845"/>
                </a:lnTo>
                <a:lnTo>
                  <a:pt x="1792919" y="4171164"/>
                </a:lnTo>
                <a:cubicBezTo>
                  <a:pt x="1780135" y="4164771"/>
                  <a:pt x="1767351" y="4156781"/>
                  <a:pt x="1754568" y="4150388"/>
                </a:cubicBezTo>
                <a:close/>
                <a:moveTo>
                  <a:pt x="137425" y="0"/>
                </a:moveTo>
                <a:lnTo>
                  <a:pt x="158947" y="0"/>
                </a:lnTo>
                <a:cubicBezTo>
                  <a:pt x="791844" y="0"/>
                  <a:pt x="2142025" y="0"/>
                  <a:pt x="5022410" y="0"/>
                </a:cubicBezTo>
                <a:cubicBezTo>
                  <a:pt x="5022410" y="0"/>
                  <a:pt x="5022410" y="0"/>
                  <a:pt x="5022410" y="4446045"/>
                </a:cubicBezTo>
                <a:cubicBezTo>
                  <a:pt x="4610135" y="4607458"/>
                  <a:pt x="4159508" y="4695356"/>
                  <a:pt x="3689706" y="4695356"/>
                </a:cubicBezTo>
                <a:cubicBezTo>
                  <a:pt x="3465990" y="4695356"/>
                  <a:pt x="3247069" y="4674580"/>
                  <a:pt x="3032941" y="4637823"/>
                </a:cubicBezTo>
                <a:cubicBezTo>
                  <a:pt x="2627058" y="4564308"/>
                  <a:pt x="2142874" y="4366138"/>
                  <a:pt x="1794517" y="4171164"/>
                </a:cubicBezTo>
                <a:lnTo>
                  <a:pt x="1786212" y="4166845"/>
                </a:lnTo>
                <a:lnTo>
                  <a:pt x="1595821" y="4044239"/>
                </a:lnTo>
                <a:cubicBezTo>
                  <a:pt x="632008" y="3379232"/>
                  <a:pt x="0" y="2265274"/>
                  <a:pt x="0" y="1005235"/>
                </a:cubicBezTo>
                <a:cubicBezTo>
                  <a:pt x="0" y="656839"/>
                  <a:pt x="47939" y="319629"/>
                  <a:pt x="137425" y="0"/>
                </a:cubicBezTo>
                <a:close/>
              </a:path>
            </a:pathLst>
          </a:custGeom>
        </p:spPr>
        <p:txBody>
          <a:bodyPr wrap="square" tIns="1980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88F8112-3E6F-0B09-BF70-1A5D321C9B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046840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A pink and yellow curved lines&#10;&#10;Description automatically generated">
            <a:extLst>
              <a:ext uri="{FF2B5EF4-FFF2-40B4-BE49-F238E27FC236}">
                <a16:creationId xmlns:a16="http://schemas.microsoft.com/office/drawing/2014/main" id="{DA20FD86-A83E-2069-7629-2BC51FEC48E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179" y="-40256"/>
            <a:ext cx="4004821" cy="6898256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25FF0EA-7AED-C788-207F-C0C0170851B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47675" y="-14140"/>
            <a:ext cx="5929706" cy="4336318"/>
          </a:xfrm>
          <a:custGeom>
            <a:avLst/>
            <a:gdLst>
              <a:gd name="connsiteX0" fmla="*/ 944436 w 6108785"/>
              <a:gd name="connsiteY0" fmla="*/ 0 h 4467276"/>
              <a:gd name="connsiteX1" fmla="*/ 6108785 w 6108785"/>
              <a:gd name="connsiteY1" fmla="*/ 0 h 4467276"/>
              <a:gd name="connsiteX2" fmla="*/ 5769629 w 6108785"/>
              <a:gd name="connsiteY2" fmla="*/ 357251 h 4467276"/>
              <a:gd name="connsiteX3" fmla="*/ 5712284 w 6108785"/>
              <a:gd name="connsiteY3" fmla="*/ 444106 h 4467276"/>
              <a:gd name="connsiteX4" fmla="*/ 5707368 w 6108785"/>
              <a:gd name="connsiteY4" fmla="*/ 453938 h 4467276"/>
              <a:gd name="connsiteX5" fmla="*/ 5687707 w 6108785"/>
              <a:gd name="connsiteY5" fmla="*/ 488352 h 4467276"/>
              <a:gd name="connsiteX6" fmla="*/ 5700814 w 6108785"/>
              <a:gd name="connsiteY6" fmla="*/ 2050096 h 4467276"/>
              <a:gd name="connsiteX7" fmla="*/ 5912172 w 6108785"/>
              <a:gd name="connsiteY7" fmla="*/ 2900616 h 4467276"/>
              <a:gd name="connsiteX8" fmla="*/ 5910534 w 6108785"/>
              <a:gd name="connsiteY8" fmla="*/ 2913726 h 4467276"/>
              <a:gd name="connsiteX9" fmla="*/ 5854828 w 6108785"/>
              <a:gd name="connsiteY9" fmla="*/ 3264422 h 4467276"/>
              <a:gd name="connsiteX10" fmla="*/ 5712284 w 6108785"/>
              <a:gd name="connsiteY10" fmla="*/ 3613479 h 4467276"/>
              <a:gd name="connsiteX11" fmla="*/ 5707368 w 6108785"/>
              <a:gd name="connsiteY11" fmla="*/ 3623312 h 4467276"/>
              <a:gd name="connsiteX12" fmla="*/ 5687707 w 6108785"/>
              <a:gd name="connsiteY12" fmla="*/ 3656087 h 4467276"/>
              <a:gd name="connsiteX13" fmla="*/ 5120809 w 6108785"/>
              <a:gd name="connsiteY13" fmla="*/ 4214906 h 4467276"/>
              <a:gd name="connsiteX14" fmla="*/ 4958603 w 6108785"/>
              <a:gd name="connsiteY14" fmla="*/ 4296845 h 4467276"/>
              <a:gd name="connsiteX15" fmla="*/ 4953688 w 6108785"/>
              <a:gd name="connsiteY15" fmla="*/ 4298483 h 4467276"/>
              <a:gd name="connsiteX16" fmla="*/ 4911089 w 6108785"/>
              <a:gd name="connsiteY16" fmla="*/ 4316510 h 4467276"/>
              <a:gd name="connsiteX17" fmla="*/ 4614532 w 6108785"/>
              <a:gd name="connsiteY17" fmla="*/ 4401726 h 4467276"/>
              <a:gd name="connsiteX18" fmla="*/ 4354021 w 6108785"/>
              <a:gd name="connsiteY18" fmla="*/ 4426307 h 4467276"/>
              <a:gd name="connsiteX19" fmla="*/ 4335998 w 6108785"/>
              <a:gd name="connsiteY19" fmla="*/ 4427946 h 4467276"/>
              <a:gd name="connsiteX20" fmla="*/ 4303229 w 6108785"/>
              <a:gd name="connsiteY20" fmla="*/ 4427946 h 4467276"/>
              <a:gd name="connsiteX21" fmla="*/ 4301591 w 6108785"/>
              <a:gd name="connsiteY21" fmla="*/ 4427946 h 4467276"/>
              <a:gd name="connsiteX22" fmla="*/ 4267184 w 6108785"/>
              <a:gd name="connsiteY22" fmla="*/ 4427946 h 4467276"/>
              <a:gd name="connsiteX23" fmla="*/ 4258991 w 6108785"/>
              <a:gd name="connsiteY23" fmla="*/ 4427946 h 4467276"/>
              <a:gd name="connsiteX24" fmla="*/ 4224584 w 6108785"/>
              <a:gd name="connsiteY24" fmla="*/ 4429585 h 4467276"/>
              <a:gd name="connsiteX25" fmla="*/ 4216392 w 6108785"/>
              <a:gd name="connsiteY25" fmla="*/ 4431223 h 4467276"/>
              <a:gd name="connsiteX26" fmla="*/ 4180346 w 6108785"/>
              <a:gd name="connsiteY26" fmla="*/ 4434501 h 4467276"/>
              <a:gd name="connsiteX27" fmla="*/ 4177070 w 6108785"/>
              <a:gd name="connsiteY27" fmla="*/ 4434501 h 4467276"/>
              <a:gd name="connsiteX28" fmla="*/ 4142662 w 6108785"/>
              <a:gd name="connsiteY28" fmla="*/ 4437778 h 4467276"/>
              <a:gd name="connsiteX29" fmla="*/ 4136109 w 6108785"/>
              <a:gd name="connsiteY29" fmla="*/ 4437778 h 4467276"/>
              <a:gd name="connsiteX30" fmla="*/ 4100063 w 6108785"/>
              <a:gd name="connsiteY30" fmla="*/ 4442695 h 4467276"/>
              <a:gd name="connsiteX31" fmla="*/ 4093509 w 6108785"/>
              <a:gd name="connsiteY31" fmla="*/ 4444334 h 4467276"/>
              <a:gd name="connsiteX32" fmla="*/ 4055825 w 6108785"/>
              <a:gd name="connsiteY32" fmla="*/ 4450889 h 4467276"/>
              <a:gd name="connsiteX33" fmla="*/ 4052548 w 6108785"/>
              <a:gd name="connsiteY33" fmla="*/ 4450889 h 4467276"/>
              <a:gd name="connsiteX34" fmla="*/ 4018141 w 6108785"/>
              <a:gd name="connsiteY34" fmla="*/ 4457444 h 4467276"/>
              <a:gd name="connsiteX35" fmla="*/ 4013226 w 6108785"/>
              <a:gd name="connsiteY35" fmla="*/ 4459082 h 4467276"/>
              <a:gd name="connsiteX36" fmla="*/ 3977180 w 6108785"/>
              <a:gd name="connsiteY36" fmla="*/ 4465637 h 4467276"/>
              <a:gd name="connsiteX37" fmla="*/ 3973903 w 6108785"/>
              <a:gd name="connsiteY37" fmla="*/ 4467276 h 4467276"/>
              <a:gd name="connsiteX38" fmla="*/ 3472542 w 6108785"/>
              <a:gd name="connsiteY38" fmla="*/ 4180492 h 4467276"/>
              <a:gd name="connsiteX39" fmla="*/ 1401560 w 6108785"/>
              <a:gd name="connsiteY39" fmla="*/ 2992387 h 4467276"/>
              <a:gd name="connsiteX40" fmla="*/ 1236078 w 6108785"/>
              <a:gd name="connsiteY40" fmla="*/ 2897338 h 4467276"/>
              <a:gd name="connsiteX41" fmla="*/ 264485 w 6108785"/>
              <a:gd name="connsiteY41" fmla="*/ 2133673 h 4467276"/>
              <a:gd name="connsiteX42" fmla="*/ 207140 w 6108785"/>
              <a:gd name="connsiteY42" fmla="*/ 439189 h 4467276"/>
              <a:gd name="connsiteX43" fmla="*/ 631495 w 6108785"/>
              <a:gd name="connsiteY43" fmla="*/ 31137 h 4467276"/>
              <a:gd name="connsiteX44" fmla="*/ 944436 w 6108785"/>
              <a:gd name="connsiteY44" fmla="*/ 0 h 4467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108785" h="4467276">
                <a:moveTo>
                  <a:pt x="944436" y="0"/>
                </a:moveTo>
                <a:cubicBezTo>
                  <a:pt x="2666432" y="0"/>
                  <a:pt x="4386789" y="0"/>
                  <a:pt x="6108785" y="0"/>
                </a:cubicBezTo>
                <a:cubicBezTo>
                  <a:pt x="5974434" y="103242"/>
                  <a:pt x="5861381" y="222872"/>
                  <a:pt x="5769629" y="357251"/>
                </a:cubicBezTo>
                <a:cubicBezTo>
                  <a:pt x="5749968" y="385110"/>
                  <a:pt x="5730306" y="414608"/>
                  <a:pt x="5712284" y="444106"/>
                </a:cubicBezTo>
                <a:cubicBezTo>
                  <a:pt x="5710645" y="447383"/>
                  <a:pt x="5709006" y="450661"/>
                  <a:pt x="5707368" y="453938"/>
                </a:cubicBezTo>
                <a:cubicBezTo>
                  <a:pt x="5700814" y="465410"/>
                  <a:pt x="5694261" y="476881"/>
                  <a:pt x="5687707" y="488352"/>
                </a:cubicBezTo>
                <a:cubicBezTo>
                  <a:pt x="5427196" y="958678"/>
                  <a:pt x="5412450" y="1550273"/>
                  <a:pt x="5700814" y="2050096"/>
                </a:cubicBezTo>
                <a:cubicBezTo>
                  <a:pt x="5854828" y="2318854"/>
                  <a:pt x="5922004" y="2613832"/>
                  <a:pt x="5912172" y="2900616"/>
                </a:cubicBezTo>
                <a:cubicBezTo>
                  <a:pt x="5910534" y="2905532"/>
                  <a:pt x="5910534" y="2908810"/>
                  <a:pt x="5910534" y="2913726"/>
                </a:cubicBezTo>
                <a:cubicBezTo>
                  <a:pt x="5892512" y="3030078"/>
                  <a:pt x="5874488" y="3148070"/>
                  <a:pt x="5854828" y="3264422"/>
                </a:cubicBezTo>
                <a:cubicBezTo>
                  <a:pt x="5822059" y="3385691"/>
                  <a:pt x="5774544" y="3502043"/>
                  <a:pt x="5712284" y="3613479"/>
                </a:cubicBezTo>
                <a:cubicBezTo>
                  <a:pt x="5710645" y="3616757"/>
                  <a:pt x="5709006" y="3620034"/>
                  <a:pt x="5707368" y="3623312"/>
                </a:cubicBezTo>
                <a:cubicBezTo>
                  <a:pt x="5700814" y="3634783"/>
                  <a:pt x="5694261" y="3646254"/>
                  <a:pt x="5687707" y="3656087"/>
                </a:cubicBezTo>
                <a:cubicBezTo>
                  <a:pt x="5553356" y="3880598"/>
                  <a:pt x="5363297" y="4075611"/>
                  <a:pt x="5120809" y="4214906"/>
                </a:cubicBezTo>
                <a:cubicBezTo>
                  <a:pt x="5066740" y="4246043"/>
                  <a:pt x="5014310" y="4272263"/>
                  <a:pt x="4958603" y="4296845"/>
                </a:cubicBezTo>
                <a:cubicBezTo>
                  <a:pt x="4956965" y="4296845"/>
                  <a:pt x="4955327" y="4298483"/>
                  <a:pt x="4953688" y="4298483"/>
                </a:cubicBezTo>
                <a:cubicBezTo>
                  <a:pt x="4938942" y="4305038"/>
                  <a:pt x="4925835" y="4309955"/>
                  <a:pt x="4911089" y="4316510"/>
                </a:cubicBezTo>
                <a:cubicBezTo>
                  <a:pt x="4814421" y="4354201"/>
                  <a:pt x="4714477" y="4383699"/>
                  <a:pt x="4614532" y="4401726"/>
                </a:cubicBezTo>
                <a:cubicBezTo>
                  <a:pt x="4527695" y="4418113"/>
                  <a:pt x="4440858" y="4426307"/>
                  <a:pt x="4354021" y="4426307"/>
                </a:cubicBezTo>
                <a:cubicBezTo>
                  <a:pt x="4347467" y="4427946"/>
                  <a:pt x="4340913" y="4427946"/>
                  <a:pt x="4335998" y="4427946"/>
                </a:cubicBezTo>
                <a:cubicBezTo>
                  <a:pt x="4324529" y="4427946"/>
                  <a:pt x="4314698" y="4427946"/>
                  <a:pt x="4303229" y="4427946"/>
                </a:cubicBezTo>
                <a:cubicBezTo>
                  <a:pt x="4303229" y="4427946"/>
                  <a:pt x="4303229" y="4427946"/>
                  <a:pt x="4301591" y="4427946"/>
                </a:cubicBezTo>
                <a:cubicBezTo>
                  <a:pt x="4290122" y="4427946"/>
                  <a:pt x="4278653" y="4427946"/>
                  <a:pt x="4267184" y="4427946"/>
                </a:cubicBezTo>
                <a:cubicBezTo>
                  <a:pt x="4263907" y="4427946"/>
                  <a:pt x="4262268" y="4427946"/>
                  <a:pt x="4258991" y="4427946"/>
                </a:cubicBezTo>
                <a:cubicBezTo>
                  <a:pt x="4247522" y="4429585"/>
                  <a:pt x="4236053" y="4429585"/>
                  <a:pt x="4224584" y="4429585"/>
                </a:cubicBezTo>
                <a:cubicBezTo>
                  <a:pt x="4221307" y="4431223"/>
                  <a:pt x="4218031" y="4431223"/>
                  <a:pt x="4216392" y="4431223"/>
                </a:cubicBezTo>
                <a:cubicBezTo>
                  <a:pt x="4204923" y="4431223"/>
                  <a:pt x="4191816" y="4432862"/>
                  <a:pt x="4180346" y="4434501"/>
                </a:cubicBezTo>
                <a:cubicBezTo>
                  <a:pt x="4178708" y="4434501"/>
                  <a:pt x="4178708" y="4434501"/>
                  <a:pt x="4177070" y="4434501"/>
                </a:cubicBezTo>
                <a:cubicBezTo>
                  <a:pt x="4165601" y="4434501"/>
                  <a:pt x="4154132" y="4436140"/>
                  <a:pt x="4142662" y="4437778"/>
                </a:cubicBezTo>
                <a:cubicBezTo>
                  <a:pt x="4139386" y="4437778"/>
                  <a:pt x="4137747" y="4437778"/>
                  <a:pt x="4136109" y="4437778"/>
                </a:cubicBezTo>
                <a:cubicBezTo>
                  <a:pt x="4123001" y="4439417"/>
                  <a:pt x="4111532" y="4441056"/>
                  <a:pt x="4100063" y="4442695"/>
                </a:cubicBezTo>
                <a:cubicBezTo>
                  <a:pt x="4096786" y="4444334"/>
                  <a:pt x="4095148" y="4444334"/>
                  <a:pt x="4093509" y="4444334"/>
                </a:cubicBezTo>
                <a:cubicBezTo>
                  <a:pt x="4080402" y="4445972"/>
                  <a:pt x="4068933" y="4447611"/>
                  <a:pt x="4055825" y="4450889"/>
                </a:cubicBezTo>
                <a:cubicBezTo>
                  <a:pt x="4055825" y="4450889"/>
                  <a:pt x="4054187" y="4450889"/>
                  <a:pt x="4052548" y="4450889"/>
                </a:cubicBezTo>
                <a:cubicBezTo>
                  <a:pt x="4041079" y="4452527"/>
                  <a:pt x="4029610" y="4455805"/>
                  <a:pt x="4018141" y="4457444"/>
                </a:cubicBezTo>
                <a:cubicBezTo>
                  <a:pt x="4016503" y="4457444"/>
                  <a:pt x="4014864" y="4457444"/>
                  <a:pt x="4013226" y="4459082"/>
                </a:cubicBezTo>
                <a:cubicBezTo>
                  <a:pt x="4000118" y="4460721"/>
                  <a:pt x="3988649" y="4463999"/>
                  <a:pt x="3977180" y="4465637"/>
                </a:cubicBezTo>
                <a:cubicBezTo>
                  <a:pt x="3975542" y="4467276"/>
                  <a:pt x="3973903" y="4467276"/>
                  <a:pt x="3973903" y="4467276"/>
                </a:cubicBezTo>
                <a:lnTo>
                  <a:pt x="3472542" y="4180492"/>
                </a:lnTo>
                <a:cubicBezTo>
                  <a:pt x="2782761" y="3785549"/>
                  <a:pt x="2092979" y="3388968"/>
                  <a:pt x="1401560" y="2992387"/>
                </a:cubicBezTo>
                <a:cubicBezTo>
                  <a:pt x="1345853" y="2959611"/>
                  <a:pt x="1291784" y="2928475"/>
                  <a:pt x="1236078" y="2897338"/>
                </a:cubicBezTo>
                <a:cubicBezTo>
                  <a:pt x="875622" y="2689215"/>
                  <a:pt x="503697" y="2472898"/>
                  <a:pt x="264485" y="2133673"/>
                </a:cubicBezTo>
                <a:cubicBezTo>
                  <a:pt x="-77948" y="1646960"/>
                  <a:pt x="-77948" y="961956"/>
                  <a:pt x="207140" y="439189"/>
                </a:cubicBezTo>
                <a:cubicBezTo>
                  <a:pt x="303808" y="262203"/>
                  <a:pt x="439798" y="93410"/>
                  <a:pt x="631495" y="31137"/>
                </a:cubicBezTo>
                <a:cubicBezTo>
                  <a:pt x="731440" y="0"/>
                  <a:pt x="839576" y="0"/>
                  <a:pt x="944436" y="0"/>
                </a:cubicBezTo>
                <a:close/>
              </a:path>
            </a:pathLst>
          </a:custGeom>
        </p:spPr>
        <p:txBody>
          <a:bodyPr wrap="square" tIns="1908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E9D2E9-D355-BF18-26E2-236ABE0FD38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5907525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Orange, Pink, Image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colorful background with a white and pink wave&#10;&#10;Description automatically generated with medium confidence">
            <a:extLst>
              <a:ext uri="{FF2B5EF4-FFF2-40B4-BE49-F238E27FC236}">
                <a16:creationId xmlns:a16="http://schemas.microsoft.com/office/drawing/2014/main" id="{70D8D136-4010-BE0C-623D-075EEC1A80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3697" y="0"/>
            <a:ext cx="5708303" cy="3219254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335E727-D0FB-7AFB-1BD0-97F4DAA8C6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39666" y="2116371"/>
            <a:ext cx="3552334" cy="4741629"/>
          </a:xfrm>
          <a:custGeom>
            <a:avLst/>
            <a:gdLst>
              <a:gd name="connsiteX0" fmla="*/ 1583776 w 2986706"/>
              <a:gd name="connsiteY0" fmla="*/ 24 h 3986633"/>
              <a:gd name="connsiteX1" fmla="*/ 2155464 w 2986706"/>
              <a:gd name="connsiteY1" fmla="*/ 112872 h 3986633"/>
              <a:gd name="connsiteX2" fmla="*/ 2199565 w 2986706"/>
              <a:gd name="connsiteY2" fmla="*/ 131573 h 3986633"/>
              <a:gd name="connsiteX3" fmla="*/ 2528320 w 2986706"/>
              <a:gd name="connsiteY3" fmla="*/ 329268 h 3986633"/>
              <a:gd name="connsiteX4" fmla="*/ 2553712 w 2986706"/>
              <a:gd name="connsiteY4" fmla="*/ 350641 h 3986633"/>
              <a:gd name="connsiteX5" fmla="*/ 2585785 w 2986706"/>
              <a:gd name="connsiteY5" fmla="*/ 377356 h 3986633"/>
              <a:gd name="connsiteX6" fmla="*/ 2804955 w 2986706"/>
              <a:gd name="connsiteY6" fmla="*/ 612453 h 3986633"/>
              <a:gd name="connsiteX7" fmla="*/ 2986706 w 2986706"/>
              <a:gd name="connsiteY7" fmla="*/ 921019 h 3986633"/>
              <a:gd name="connsiteX8" fmla="*/ 2986706 w 2986706"/>
              <a:gd name="connsiteY8" fmla="*/ 3986633 h 3986633"/>
              <a:gd name="connsiteX9" fmla="*/ 988784 w 2986706"/>
              <a:gd name="connsiteY9" fmla="*/ 3986633 h 3986633"/>
              <a:gd name="connsiteX10" fmla="*/ 661366 w 2986706"/>
              <a:gd name="connsiteY10" fmla="*/ 3521782 h 3986633"/>
              <a:gd name="connsiteX11" fmla="*/ 41275 w 2986706"/>
              <a:gd name="connsiteY11" fmla="*/ 1749202 h 3986633"/>
              <a:gd name="connsiteX12" fmla="*/ 47957 w 2986706"/>
              <a:gd name="connsiteY12" fmla="*/ 585738 h 3986633"/>
              <a:gd name="connsiteX13" fmla="*/ 50630 w 2986706"/>
              <a:gd name="connsiteY13" fmla="*/ 584402 h 3986633"/>
              <a:gd name="connsiteX14" fmla="*/ 86712 w 2986706"/>
              <a:gd name="connsiteY14" fmla="*/ 576387 h 3986633"/>
              <a:gd name="connsiteX15" fmla="*/ 90722 w 2986706"/>
              <a:gd name="connsiteY15" fmla="*/ 575052 h 3986633"/>
              <a:gd name="connsiteX16" fmla="*/ 125468 w 2986706"/>
              <a:gd name="connsiteY16" fmla="*/ 567037 h 3986633"/>
              <a:gd name="connsiteX17" fmla="*/ 128141 w 2986706"/>
              <a:gd name="connsiteY17" fmla="*/ 565701 h 3986633"/>
              <a:gd name="connsiteX18" fmla="*/ 162887 w 2986706"/>
              <a:gd name="connsiteY18" fmla="*/ 556351 h 3986633"/>
              <a:gd name="connsiteX19" fmla="*/ 169569 w 2986706"/>
              <a:gd name="connsiteY19" fmla="*/ 553679 h 3986633"/>
              <a:gd name="connsiteX20" fmla="*/ 204316 w 2986706"/>
              <a:gd name="connsiteY20" fmla="*/ 542993 h 3986633"/>
              <a:gd name="connsiteX21" fmla="*/ 208325 w 2986706"/>
              <a:gd name="connsiteY21" fmla="*/ 541657 h 3986633"/>
              <a:gd name="connsiteX22" fmla="*/ 241735 w 2986706"/>
              <a:gd name="connsiteY22" fmla="*/ 529635 h 3986633"/>
              <a:gd name="connsiteX23" fmla="*/ 245744 w 2986706"/>
              <a:gd name="connsiteY23" fmla="*/ 528299 h 3986633"/>
              <a:gd name="connsiteX24" fmla="*/ 280491 w 2986706"/>
              <a:gd name="connsiteY24" fmla="*/ 516277 h 3986633"/>
              <a:gd name="connsiteX25" fmla="*/ 285836 w 2986706"/>
              <a:gd name="connsiteY25" fmla="*/ 513606 h 3986633"/>
              <a:gd name="connsiteX26" fmla="*/ 320583 w 2986706"/>
              <a:gd name="connsiteY26" fmla="*/ 500248 h 3986633"/>
              <a:gd name="connsiteX27" fmla="*/ 323256 w 2986706"/>
              <a:gd name="connsiteY27" fmla="*/ 498912 h 3986633"/>
              <a:gd name="connsiteX28" fmla="*/ 355329 w 2986706"/>
              <a:gd name="connsiteY28" fmla="*/ 484219 h 3986633"/>
              <a:gd name="connsiteX29" fmla="*/ 360675 w 2986706"/>
              <a:gd name="connsiteY29" fmla="*/ 481547 h 3986633"/>
              <a:gd name="connsiteX30" fmla="*/ 394085 w 2986706"/>
              <a:gd name="connsiteY30" fmla="*/ 466853 h 3986633"/>
              <a:gd name="connsiteX31" fmla="*/ 399431 w 2986706"/>
              <a:gd name="connsiteY31" fmla="*/ 462846 h 3986633"/>
              <a:gd name="connsiteX32" fmla="*/ 432841 w 2986706"/>
              <a:gd name="connsiteY32" fmla="*/ 446817 h 3986633"/>
              <a:gd name="connsiteX33" fmla="*/ 435514 w 2986706"/>
              <a:gd name="connsiteY33" fmla="*/ 445481 h 3986633"/>
              <a:gd name="connsiteX34" fmla="*/ 467587 w 2986706"/>
              <a:gd name="connsiteY34" fmla="*/ 428116 h 3986633"/>
              <a:gd name="connsiteX35" fmla="*/ 472933 w 2986706"/>
              <a:gd name="connsiteY35" fmla="*/ 425444 h 3986633"/>
              <a:gd name="connsiteX36" fmla="*/ 505006 w 2986706"/>
              <a:gd name="connsiteY36" fmla="*/ 406743 h 3986633"/>
              <a:gd name="connsiteX37" fmla="*/ 510352 w 2986706"/>
              <a:gd name="connsiteY37" fmla="*/ 402736 h 3986633"/>
              <a:gd name="connsiteX38" fmla="*/ 543762 w 2986706"/>
              <a:gd name="connsiteY38" fmla="*/ 382699 h 3986633"/>
              <a:gd name="connsiteX39" fmla="*/ 575836 w 2986706"/>
              <a:gd name="connsiteY39" fmla="*/ 362663 h 3986633"/>
              <a:gd name="connsiteX40" fmla="*/ 581181 w 2986706"/>
              <a:gd name="connsiteY40" fmla="*/ 358655 h 3986633"/>
              <a:gd name="connsiteX41" fmla="*/ 611919 w 2986706"/>
              <a:gd name="connsiteY41" fmla="*/ 337283 h 3986633"/>
              <a:gd name="connsiteX42" fmla="*/ 617264 w 2986706"/>
              <a:gd name="connsiteY42" fmla="*/ 333275 h 3986633"/>
              <a:gd name="connsiteX43" fmla="*/ 649338 w 2986706"/>
              <a:gd name="connsiteY43" fmla="*/ 310567 h 3986633"/>
              <a:gd name="connsiteX44" fmla="*/ 1583776 w 2986706"/>
              <a:gd name="connsiteY44" fmla="*/ 24 h 3986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2986706" h="3986633">
                <a:moveTo>
                  <a:pt x="1583776" y="24"/>
                </a:moveTo>
                <a:cubicBezTo>
                  <a:pt x="1779225" y="1105"/>
                  <a:pt x="1973546" y="39237"/>
                  <a:pt x="2155464" y="112872"/>
                </a:cubicBezTo>
                <a:cubicBezTo>
                  <a:pt x="2170164" y="119551"/>
                  <a:pt x="2184865" y="124894"/>
                  <a:pt x="2199565" y="131573"/>
                </a:cubicBezTo>
                <a:cubicBezTo>
                  <a:pt x="2315832" y="183668"/>
                  <a:pt x="2426753" y="249121"/>
                  <a:pt x="2528320" y="329268"/>
                </a:cubicBezTo>
                <a:cubicBezTo>
                  <a:pt x="2537675" y="335947"/>
                  <a:pt x="2545693" y="342626"/>
                  <a:pt x="2553712" y="350641"/>
                </a:cubicBezTo>
                <a:cubicBezTo>
                  <a:pt x="2564403" y="358655"/>
                  <a:pt x="2575094" y="368006"/>
                  <a:pt x="2585785" y="377356"/>
                </a:cubicBezTo>
                <a:cubicBezTo>
                  <a:pt x="2665969" y="446817"/>
                  <a:pt x="2739472" y="525628"/>
                  <a:pt x="2804955" y="612453"/>
                </a:cubicBezTo>
                <a:cubicBezTo>
                  <a:pt x="2878458" y="709965"/>
                  <a:pt x="2938596" y="814156"/>
                  <a:pt x="2986706" y="921019"/>
                </a:cubicBezTo>
                <a:cubicBezTo>
                  <a:pt x="2986706" y="921019"/>
                  <a:pt x="2986706" y="921019"/>
                  <a:pt x="2986706" y="3986633"/>
                </a:cubicBezTo>
                <a:cubicBezTo>
                  <a:pt x="2986706" y="3986633"/>
                  <a:pt x="2986706" y="3986633"/>
                  <a:pt x="988784" y="3986633"/>
                </a:cubicBezTo>
                <a:cubicBezTo>
                  <a:pt x="859153" y="3850384"/>
                  <a:pt x="756250" y="3684747"/>
                  <a:pt x="661366" y="3521782"/>
                </a:cubicBezTo>
                <a:cubicBezTo>
                  <a:pt x="344638" y="2979455"/>
                  <a:pt x="124132" y="2373011"/>
                  <a:pt x="41275" y="1749202"/>
                </a:cubicBezTo>
                <a:cubicBezTo>
                  <a:pt x="-9509" y="1368505"/>
                  <a:pt x="-20200" y="965099"/>
                  <a:pt x="47957" y="585738"/>
                </a:cubicBezTo>
                <a:cubicBezTo>
                  <a:pt x="49293" y="585738"/>
                  <a:pt x="50630" y="584402"/>
                  <a:pt x="50630" y="584402"/>
                </a:cubicBezTo>
                <a:cubicBezTo>
                  <a:pt x="62657" y="581730"/>
                  <a:pt x="74685" y="579059"/>
                  <a:pt x="86712" y="576387"/>
                </a:cubicBezTo>
                <a:cubicBezTo>
                  <a:pt x="88049" y="576387"/>
                  <a:pt x="89385" y="576387"/>
                  <a:pt x="90722" y="575052"/>
                </a:cubicBezTo>
                <a:cubicBezTo>
                  <a:pt x="102749" y="572380"/>
                  <a:pt x="113441" y="569708"/>
                  <a:pt x="125468" y="567037"/>
                </a:cubicBezTo>
                <a:cubicBezTo>
                  <a:pt x="125468" y="567037"/>
                  <a:pt x="126805" y="565701"/>
                  <a:pt x="128141" y="565701"/>
                </a:cubicBezTo>
                <a:cubicBezTo>
                  <a:pt x="140169" y="563030"/>
                  <a:pt x="152196" y="559022"/>
                  <a:pt x="162887" y="556351"/>
                </a:cubicBezTo>
                <a:cubicBezTo>
                  <a:pt x="165560" y="555015"/>
                  <a:pt x="166897" y="555015"/>
                  <a:pt x="169569" y="553679"/>
                </a:cubicBezTo>
                <a:cubicBezTo>
                  <a:pt x="181597" y="551007"/>
                  <a:pt x="192288" y="547000"/>
                  <a:pt x="204316" y="542993"/>
                </a:cubicBezTo>
                <a:cubicBezTo>
                  <a:pt x="205652" y="542993"/>
                  <a:pt x="206989" y="541657"/>
                  <a:pt x="208325" y="541657"/>
                </a:cubicBezTo>
                <a:cubicBezTo>
                  <a:pt x="219016" y="537650"/>
                  <a:pt x="231044" y="533642"/>
                  <a:pt x="241735" y="529635"/>
                </a:cubicBezTo>
                <a:cubicBezTo>
                  <a:pt x="243072" y="529635"/>
                  <a:pt x="244408" y="529635"/>
                  <a:pt x="245744" y="528299"/>
                </a:cubicBezTo>
                <a:cubicBezTo>
                  <a:pt x="256436" y="524292"/>
                  <a:pt x="268463" y="520285"/>
                  <a:pt x="280491" y="516277"/>
                </a:cubicBezTo>
                <a:cubicBezTo>
                  <a:pt x="281827" y="514941"/>
                  <a:pt x="284500" y="514941"/>
                  <a:pt x="285836" y="513606"/>
                </a:cubicBezTo>
                <a:cubicBezTo>
                  <a:pt x="297864" y="509598"/>
                  <a:pt x="308555" y="504255"/>
                  <a:pt x="320583" y="500248"/>
                </a:cubicBezTo>
                <a:cubicBezTo>
                  <a:pt x="320583" y="498912"/>
                  <a:pt x="321919" y="498912"/>
                  <a:pt x="323256" y="498912"/>
                </a:cubicBezTo>
                <a:cubicBezTo>
                  <a:pt x="333947" y="493569"/>
                  <a:pt x="344638" y="489562"/>
                  <a:pt x="355329" y="484219"/>
                </a:cubicBezTo>
                <a:cubicBezTo>
                  <a:pt x="358002" y="482883"/>
                  <a:pt x="359339" y="482883"/>
                  <a:pt x="360675" y="481547"/>
                </a:cubicBezTo>
                <a:cubicBezTo>
                  <a:pt x="371366" y="477540"/>
                  <a:pt x="382057" y="472197"/>
                  <a:pt x="394085" y="466853"/>
                </a:cubicBezTo>
                <a:cubicBezTo>
                  <a:pt x="395421" y="465518"/>
                  <a:pt x="398094" y="464182"/>
                  <a:pt x="399431" y="462846"/>
                </a:cubicBezTo>
                <a:cubicBezTo>
                  <a:pt x="411458" y="457503"/>
                  <a:pt x="422150" y="452160"/>
                  <a:pt x="432841" y="446817"/>
                </a:cubicBezTo>
                <a:cubicBezTo>
                  <a:pt x="434177" y="445481"/>
                  <a:pt x="434177" y="445481"/>
                  <a:pt x="435514" y="445481"/>
                </a:cubicBezTo>
                <a:cubicBezTo>
                  <a:pt x="446205" y="440138"/>
                  <a:pt x="456896" y="433459"/>
                  <a:pt x="467587" y="428116"/>
                </a:cubicBezTo>
                <a:cubicBezTo>
                  <a:pt x="468924" y="426780"/>
                  <a:pt x="470260" y="426780"/>
                  <a:pt x="472933" y="425444"/>
                </a:cubicBezTo>
                <a:cubicBezTo>
                  <a:pt x="483624" y="418765"/>
                  <a:pt x="494315" y="413422"/>
                  <a:pt x="505006" y="406743"/>
                </a:cubicBezTo>
                <a:cubicBezTo>
                  <a:pt x="506343" y="405407"/>
                  <a:pt x="509016" y="404072"/>
                  <a:pt x="510352" y="402736"/>
                </a:cubicBezTo>
                <a:cubicBezTo>
                  <a:pt x="521043" y="396057"/>
                  <a:pt x="533071" y="389378"/>
                  <a:pt x="543762" y="382699"/>
                </a:cubicBezTo>
                <a:cubicBezTo>
                  <a:pt x="554453" y="376020"/>
                  <a:pt x="565145" y="369342"/>
                  <a:pt x="575836" y="362663"/>
                </a:cubicBezTo>
                <a:cubicBezTo>
                  <a:pt x="577172" y="361327"/>
                  <a:pt x="579845" y="359991"/>
                  <a:pt x="581181" y="358655"/>
                </a:cubicBezTo>
                <a:cubicBezTo>
                  <a:pt x="591873" y="351976"/>
                  <a:pt x="601227" y="343962"/>
                  <a:pt x="611919" y="337283"/>
                </a:cubicBezTo>
                <a:cubicBezTo>
                  <a:pt x="613255" y="335947"/>
                  <a:pt x="615928" y="334611"/>
                  <a:pt x="617264" y="333275"/>
                </a:cubicBezTo>
                <a:cubicBezTo>
                  <a:pt x="627956" y="325261"/>
                  <a:pt x="638647" y="318582"/>
                  <a:pt x="649338" y="310567"/>
                </a:cubicBezTo>
                <a:cubicBezTo>
                  <a:pt x="929147" y="99347"/>
                  <a:pt x="1258028" y="-1776"/>
                  <a:pt x="1583776" y="24"/>
                </a:cubicBezTo>
                <a:close/>
              </a:path>
            </a:pathLst>
          </a:custGeom>
        </p:spPr>
        <p:txBody>
          <a:bodyPr wrap="square" tIns="1584000">
            <a:noAutofit/>
          </a:bodyPr>
          <a:lstStyle>
            <a:lvl1pPr algn="ctr"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1BB9FA-F272-BE45-B264-5C6266B602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685695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Full Colour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with a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CD86E345-BD7E-FB12-E0E8-78B6D70049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662" y="0"/>
            <a:ext cx="4168338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5465763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7" y="3990974"/>
            <a:ext cx="5465763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A2D017-DF64-7420-B195-CE9B2E85F0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51" y="5643500"/>
            <a:ext cx="5003993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00957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8E0BFA0-78AB-9F34-B8D6-117435C6A8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773527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6" imgW="473" imgH="473" progId="TCLayout.ActiveDocument.1">
                  <p:embed/>
                </p:oleObj>
              </mc:Choice>
              <mc:Fallback>
                <p:oleObj name="think-cell Folie" r:id="rId46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E0BFA0-78AB-9F34-B8D6-117435C6A8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647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62" r:id="rId2"/>
    <p:sldLayoutId id="2147483708" r:id="rId3"/>
    <p:sldLayoutId id="2147483701" r:id="rId4"/>
    <p:sldLayoutId id="2147483705" r:id="rId5"/>
    <p:sldLayoutId id="2147483707" r:id="rId6"/>
    <p:sldLayoutId id="2147483709" r:id="rId7"/>
    <p:sldLayoutId id="2147483710" r:id="rId8"/>
    <p:sldLayoutId id="2147483661" r:id="rId9"/>
    <p:sldLayoutId id="2147483711" r:id="rId10"/>
    <p:sldLayoutId id="2147483713" r:id="rId11"/>
    <p:sldLayoutId id="2147483714" r:id="rId12"/>
    <p:sldLayoutId id="2147483715" r:id="rId13"/>
    <p:sldLayoutId id="2147483700" r:id="rId14"/>
    <p:sldLayoutId id="2147483699" r:id="rId15"/>
    <p:sldLayoutId id="2147483650" r:id="rId16"/>
    <p:sldLayoutId id="2147483659" r:id="rId17"/>
    <p:sldLayoutId id="2147483660" r:id="rId18"/>
    <p:sldLayoutId id="2147483656" r:id="rId19"/>
    <p:sldLayoutId id="2147483687" r:id="rId20"/>
    <p:sldLayoutId id="2147483720" r:id="rId21"/>
    <p:sldLayoutId id="2147483721" r:id="rId22"/>
    <p:sldLayoutId id="2147483725" r:id="rId23"/>
    <p:sldLayoutId id="2147483723" r:id="rId24"/>
    <p:sldLayoutId id="2147483726" r:id="rId25"/>
    <p:sldLayoutId id="2147483681" r:id="rId26"/>
    <p:sldLayoutId id="2147483668" r:id="rId27"/>
    <p:sldLayoutId id="2147483667" r:id="rId28"/>
    <p:sldLayoutId id="2147483669" r:id="rId29"/>
    <p:sldLayoutId id="2147483672" r:id="rId30"/>
    <p:sldLayoutId id="2147483690" r:id="rId31"/>
    <p:sldLayoutId id="2147483688" r:id="rId32"/>
    <p:sldLayoutId id="2147483738" r:id="rId33"/>
    <p:sldLayoutId id="2147483670" r:id="rId34"/>
    <p:sldLayoutId id="2147483671" r:id="rId35"/>
    <p:sldLayoutId id="2147483692" r:id="rId36"/>
    <p:sldLayoutId id="2147483693" r:id="rId37"/>
    <p:sldLayoutId id="2147483694" r:id="rId38"/>
    <p:sldLayoutId id="2147483654" r:id="rId39"/>
    <p:sldLayoutId id="2147483655" r:id="rId40"/>
    <p:sldLayoutId id="2147483736" r:id="rId41"/>
    <p:sldLayoutId id="2147483737" r:id="rId42"/>
    <p:sldLayoutId id="2147483698" r:id="rId43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 userDrawn="1">
          <p15:clr>
            <a:srgbClr val="F26B43"/>
          </p15:clr>
        </p15:guide>
        <p15:guide id="2" pos="3975" userDrawn="1">
          <p15:clr>
            <a:srgbClr val="F26B43"/>
          </p15:clr>
        </p15:guide>
        <p15:guide id="3" orient="horz" pos="243" userDrawn="1">
          <p15:clr>
            <a:srgbClr val="F26B43"/>
          </p15:clr>
        </p15:guide>
        <p15:guide id="4" orient="horz" pos="3812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1015" userDrawn="1">
          <p15:clr>
            <a:srgbClr val="F26B43"/>
          </p15:clr>
        </p15:guide>
        <p15:guide id="7" orient="horz" pos="1639" userDrawn="1">
          <p15:clr>
            <a:srgbClr val="F26B43"/>
          </p15:clr>
        </p15:guide>
        <p15:guide id="8" orient="horz" pos="1781" userDrawn="1">
          <p15:clr>
            <a:srgbClr val="F26B43"/>
          </p15:clr>
        </p15:guide>
        <p15:guide id="9" orient="horz" pos="2544" userDrawn="1">
          <p15:clr>
            <a:srgbClr val="F26B43"/>
          </p15:clr>
        </p15:guide>
        <p15:guide id="10" orient="horz" pos="3174" userDrawn="1">
          <p15:clr>
            <a:srgbClr val="F26B43"/>
          </p15:clr>
        </p15:guide>
        <p15:guide id="11" orient="horz" pos="3316" userDrawn="1">
          <p15:clr>
            <a:srgbClr val="F26B43"/>
          </p15:clr>
        </p15:guide>
        <p15:guide id="12" pos="7416" userDrawn="1">
          <p15:clr>
            <a:srgbClr val="F26B43"/>
          </p15:clr>
        </p15:guide>
        <p15:guide id="13" pos="381" userDrawn="1">
          <p15:clr>
            <a:srgbClr val="F26B43"/>
          </p15:clr>
        </p15:guide>
        <p15:guide id="14" pos="1434" userDrawn="1">
          <p15:clr>
            <a:srgbClr val="F26B43"/>
          </p15:clr>
        </p15:guide>
        <p15:guide id="15" pos="1581" userDrawn="1">
          <p15:clr>
            <a:srgbClr val="F26B43"/>
          </p15:clr>
        </p15:guide>
        <p15:guide id="16" pos="2625" userDrawn="1">
          <p15:clr>
            <a:srgbClr val="F26B43"/>
          </p15:clr>
        </p15:guide>
        <p15:guide id="17" pos="2776" userDrawn="1">
          <p15:clr>
            <a:srgbClr val="F26B43"/>
          </p15:clr>
        </p15:guide>
        <p15:guide id="18" pos="3824" userDrawn="1">
          <p15:clr>
            <a:srgbClr val="F26B43"/>
          </p15:clr>
        </p15:guide>
        <p15:guide id="19" pos="5020" userDrawn="1">
          <p15:clr>
            <a:srgbClr val="F26B43"/>
          </p15:clr>
        </p15:guide>
        <p15:guide id="20" pos="5166" userDrawn="1">
          <p15:clr>
            <a:srgbClr val="F26B43"/>
          </p15:clr>
        </p15:guide>
        <p15:guide id="21" pos="6219" userDrawn="1">
          <p15:clr>
            <a:srgbClr val="F26B43"/>
          </p15:clr>
        </p15:guide>
        <p15:guide id="22" pos="63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.x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.xml"/><Relationship Id="rId6" Type="http://schemas.openxmlformats.org/officeDocument/2006/relationships/image" Target="../media/image33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4B094F-AA91-6F44-AA07-BF6E0F107F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625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4B094F-AA91-6F44-AA07-BF6E0F107F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048DF32-7B5B-AFFC-6D3F-4AAD62C215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6719756" cy="2276399"/>
          </a:xfrm>
        </p:spPr>
        <p:txBody>
          <a:bodyPr vert="horz"/>
          <a:lstStyle/>
          <a:p>
            <a:r>
              <a:rPr lang="en-US" sz="2800" dirty="0"/>
              <a:t>Clinical validation of droplet digital PCR assays in detecting BRAFV600-mutant circulating </a:t>
            </a:r>
            <a:r>
              <a:rPr lang="en-US" sz="2800" dirty="0" err="1"/>
              <a:t>tumour</a:t>
            </a:r>
            <a:r>
              <a:rPr lang="en-US" sz="2800" dirty="0"/>
              <a:t> DNA as a prognostic biomarker in patients with resected stage III melanoma receiving adjuvant therapy (COMBI-AD): a biomarker analysis from a double-blind, </a:t>
            </a:r>
            <a:r>
              <a:rPr lang="en-US" sz="2800" dirty="0" err="1"/>
              <a:t>randomised</a:t>
            </a:r>
            <a:r>
              <a:rPr lang="en-US" sz="2800" dirty="0"/>
              <a:t> phase 3 trial</a:t>
            </a:r>
            <a:endParaRPr lang="en-GB" sz="28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452D9A-F819-5A07-FA6A-2093E338BE7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sz="800" b="0" dirty="0"/>
              <a:t>Mahrukh M </a:t>
            </a:r>
            <a:r>
              <a:rPr lang="en-GB" sz="800" b="0" dirty="0" err="1"/>
              <a:t>Syeda</a:t>
            </a:r>
            <a:r>
              <a:rPr lang="en-GB" sz="800" b="0" baseline="30000" dirty="0" err="1"/>
              <a:t>a,b</a:t>
            </a:r>
            <a:r>
              <a:rPr lang="en-GB" sz="800" b="0" dirty="0" err="1"/>
              <a:t>,Georgina</a:t>
            </a:r>
            <a:r>
              <a:rPr lang="en-GB" sz="800" b="0" dirty="0"/>
              <a:t> V </a:t>
            </a:r>
            <a:r>
              <a:rPr lang="en-GB" sz="800" b="0" dirty="0" err="1"/>
              <a:t>Long</a:t>
            </a:r>
            <a:r>
              <a:rPr lang="en-GB" sz="800" b="0" baseline="30000" dirty="0" err="1"/>
              <a:t>d</a:t>
            </a:r>
            <a:r>
              <a:rPr lang="en-GB" sz="800" b="0" dirty="0"/>
              <a:t>, James </a:t>
            </a:r>
            <a:r>
              <a:rPr lang="en-GB" sz="800" b="0" dirty="0" err="1"/>
              <a:t>Garrett</a:t>
            </a:r>
            <a:r>
              <a:rPr lang="en-GB" sz="800" b="0" baseline="30000" dirty="0" err="1"/>
              <a:t>e</a:t>
            </a:r>
            <a:r>
              <a:rPr lang="en-GB" sz="800" b="0" dirty="0" err="1"/>
              <a:t>,Victoria</a:t>
            </a:r>
            <a:r>
              <a:rPr lang="en-GB" sz="800" b="0" dirty="0"/>
              <a:t> </a:t>
            </a:r>
            <a:r>
              <a:rPr lang="en-GB" sz="800" b="0" dirty="0" err="1"/>
              <a:t>Atkinson</a:t>
            </a:r>
            <a:r>
              <a:rPr lang="en-GB" sz="800" b="0" baseline="30000" dirty="0" err="1"/>
              <a:t>f</a:t>
            </a:r>
            <a:r>
              <a:rPr lang="en-GB" sz="800" b="0" dirty="0" err="1"/>
              <a:t>,Mario</a:t>
            </a:r>
            <a:r>
              <a:rPr lang="en-GB" sz="800" b="0" dirty="0"/>
              <a:t> </a:t>
            </a:r>
            <a:r>
              <a:rPr lang="en-GB" sz="800" b="0" dirty="0" err="1"/>
              <a:t>Santinami</a:t>
            </a:r>
            <a:r>
              <a:rPr lang="en-GB" sz="800" b="0" baseline="30000" dirty="0" err="1"/>
              <a:t>g</a:t>
            </a:r>
            <a:r>
              <a:rPr lang="en-GB" sz="800" b="0" dirty="0"/>
              <a:t>, Dirk </a:t>
            </a:r>
            <a:r>
              <a:rPr lang="en-GB" sz="800" b="0" dirty="0" err="1"/>
              <a:t>Schadendorf</a:t>
            </a:r>
            <a:r>
              <a:rPr lang="en-GB" sz="800" b="0" baseline="30000" dirty="0" err="1"/>
              <a:t>h</a:t>
            </a:r>
            <a:r>
              <a:rPr lang="en-GB" sz="800" b="0" dirty="0"/>
              <a:t>, Axel </a:t>
            </a:r>
            <a:r>
              <a:rPr lang="en-GB" sz="800" b="0" dirty="0" err="1"/>
              <a:t>Hauschild</a:t>
            </a:r>
            <a:r>
              <a:rPr lang="en-GB" sz="800" b="0" baseline="30000" dirty="0" err="1"/>
              <a:t>i</a:t>
            </a:r>
            <a:r>
              <a:rPr lang="en-GB" sz="800" b="0" dirty="0"/>
              <a:t>, Michael </a:t>
            </a:r>
            <a:r>
              <a:rPr lang="en-GB" sz="800" b="0" dirty="0" err="1"/>
              <a:t>Millward</a:t>
            </a:r>
            <a:r>
              <a:rPr lang="en-GB" sz="800" b="0" baseline="30000" dirty="0" err="1"/>
              <a:t>j</a:t>
            </a:r>
            <a:r>
              <a:rPr lang="en-GB" sz="800" b="0" dirty="0"/>
              <a:t>, Mario </a:t>
            </a:r>
            <a:r>
              <a:rPr lang="en-GB" sz="800" b="0" dirty="0" err="1"/>
              <a:t>Mandala</a:t>
            </a:r>
            <a:r>
              <a:rPr lang="en-GB" sz="800" b="0" baseline="30000" dirty="0" err="1"/>
              <a:t>k</a:t>
            </a:r>
            <a:r>
              <a:rPr lang="en-GB" sz="800" b="0" dirty="0"/>
              <a:t>, Vanna </a:t>
            </a:r>
            <a:r>
              <a:rPr lang="en-GB" sz="800" b="0" dirty="0" err="1"/>
              <a:t>Chiarion-Sileni</a:t>
            </a:r>
            <a:r>
              <a:rPr lang="en-GB" sz="800" b="0" baseline="30000" dirty="0" err="1"/>
              <a:t>l</a:t>
            </a:r>
            <a:r>
              <a:rPr lang="en-GB" sz="800" b="0" dirty="0"/>
              <a:t>, Michael </a:t>
            </a:r>
            <a:r>
              <a:rPr lang="en-GB" sz="800" b="0" dirty="0" err="1"/>
              <a:t>Smylie</a:t>
            </a:r>
            <a:r>
              <a:rPr lang="en-GB" sz="800" b="0" baseline="30000" dirty="0" err="1"/>
              <a:t>m</a:t>
            </a:r>
            <a:r>
              <a:rPr lang="en-GB" sz="800" b="0" dirty="0"/>
              <a:t>, Georgy M </a:t>
            </a:r>
            <a:r>
              <a:rPr lang="en-GB" sz="800" b="0" dirty="0" err="1"/>
              <a:t>Manikhas</a:t>
            </a:r>
            <a:r>
              <a:rPr lang="en-GB" sz="800" b="0" dirty="0"/>
              <a:t>, </a:t>
            </a:r>
            <a:r>
              <a:rPr lang="en-GB" sz="800" b="0" dirty="0" err="1"/>
              <a:t>MD</a:t>
            </a:r>
            <a:r>
              <a:rPr lang="en-GB" sz="800" b="0" baseline="30000" dirty="0" err="1"/>
              <a:t>n</a:t>
            </a:r>
            <a:r>
              <a:rPr lang="en-GB" sz="800" b="0" dirty="0"/>
              <a:t>, Reinhard </a:t>
            </a:r>
            <a:r>
              <a:rPr lang="en-GB" sz="800" b="0" dirty="0" err="1"/>
              <a:t>Dummer</a:t>
            </a:r>
            <a:r>
              <a:rPr lang="en-GB" sz="800" b="0" baseline="30000" dirty="0" err="1"/>
              <a:t>o</a:t>
            </a:r>
            <a:r>
              <a:rPr lang="en-GB" sz="800" b="0" dirty="0"/>
              <a:t>, Jennifer M </a:t>
            </a:r>
            <a:r>
              <a:rPr lang="en-GB" sz="800" b="0" dirty="0" err="1"/>
              <a:t>Wiggins</a:t>
            </a:r>
            <a:r>
              <a:rPr lang="en-GB" sz="800" b="0" baseline="30000" dirty="0" err="1"/>
              <a:t>a,b,p</a:t>
            </a:r>
            <a:r>
              <a:rPr lang="en-GB" sz="800" b="0" dirty="0"/>
              <a:t>, Saim </a:t>
            </a:r>
            <a:r>
              <a:rPr lang="en-GB" sz="800" b="0" dirty="0" err="1"/>
              <a:t>Ali</a:t>
            </a:r>
            <a:r>
              <a:rPr lang="en-GB" sz="800" b="0" baseline="30000" dirty="0" err="1"/>
              <a:t>a,b</a:t>
            </a:r>
            <a:r>
              <a:rPr lang="en-GB" sz="800" b="0" dirty="0"/>
              <a:t>,</a:t>
            </a:r>
            <a:r>
              <a:rPr lang="en-GB" sz="800" b="0" baseline="30000" dirty="0"/>
              <a:t> </a:t>
            </a:r>
            <a:r>
              <a:rPr lang="en-GB" sz="800" b="0" dirty="0"/>
              <a:t>Sachin Bajirao </a:t>
            </a:r>
            <a:r>
              <a:rPr lang="en-GB" sz="800" b="0" dirty="0" err="1"/>
              <a:t>Adnaik</a:t>
            </a:r>
            <a:r>
              <a:rPr lang="en-GB" sz="800" b="0" baseline="30000" dirty="0" err="1"/>
              <a:t>q</a:t>
            </a:r>
            <a:r>
              <a:rPr lang="en-GB" sz="800" b="0" dirty="0"/>
              <a:t>, Monique Tan</a:t>
            </a:r>
            <a:r>
              <a:rPr lang="en-GB" sz="800" b="0" baseline="30000" dirty="0"/>
              <a:t>r</a:t>
            </a:r>
            <a:r>
              <a:rPr lang="en-GB" sz="800" b="0" dirty="0"/>
              <a:t>, Maya Dajee</a:t>
            </a:r>
            <a:r>
              <a:rPr lang="en-GB" sz="800" b="0" baseline="30000" dirty="0"/>
              <a:t>r</a:t>
            </a:r>
            <a:r>
              <a:rPr lang="en-GB" sz="800" b="0" dirty="0"/>
              <a:t>, David </a:t>
            </a:r>
            <a:r>
              <a:rPr lang="en-GB" sz="800" b="0" dirty="0" err="1"/>
              <a:t>Polsky</a:t>
            </a:r>
            <a:r>
              <a:rPr lang="en-GB" sz="800" b="0" baseline="30000" dirty="0" err="1"/>
              <a:t>a,b</a:t>
            </a:r>
            <a:endParaRPr lang="en-GB" sz="800" b="0" baseline="30000" dirty="0"/>
          </a:p>
          <a:p>
            <a:endParaRPr lang="en-GB" sz="1000" b="0" dirty="0"/>
          </a:p>
          <a:p>
            <a:r>
              <a:rPr lang="en-GB" sz="700" b="0" baseline="30000" dirty="0" err="1"/>
              <a:t>a</a:t>
            </a:r>
            <a:r>
              <a:rPr lang="en-GB" sz="700" b="0" dirty="0" err="1"/>
              <a:t>Ronald</a:t>
            </a:r>
            <a:r>
              <a:rPr lang="en-GB" sz="700" b="0" dirty="0"/>
              <a:t> O Perelman Department of Dermatology, NYU Grossman School of Medicine, NYU Langone Health, New York City, NY, USA, </a:t>
            </a:r>
            <a:r>
              <a:rPr lang="en-GB" sz="700" b="0" baseline="30000" dirty="0" err="1"/>
              <a:t>b</a:t>
            </a:r>
            <a:r>
              <a:rPr lang="en-GB" sz="700" b="0" dirty="0" err="1"/>
              <a:t>Laura</a:t>
            </a:r>
            <a:r>
              <a:rPr lang="en-GB" sz="700" b="0" dirty="0"/>
              <a:t> and Isaac Perlmutter Cancer </a:t>
            </a:r>
            <a:r>
              <a:rPr lang="en-GB" sz="700" b="0" dirty="0" err="1"/>
              <a:t>Center</a:t>
            </a:r>
            <a:r>
              <a:rPr lang="en-GB" sz="700" b="0" dirty="0"/>
              <a:t>, NYU Langone Health, New York City, NY, USA, </a:t>
            </a:r>
            <a:r>
              <a:rPr lang="en-GB" sz="700" b="0" baseline="30000" dirty="0" err="1"/>
              <a:t>c</a:t>
            </a:r>
            <a:r>
              <a:rPr lang="en-GB" sz="700" b="0" dirty="0" err="1"/>
              <a:t>Melanoma</a:t>
            </a:r>
            <a:r>
              <a:rPr lang="en-GB" sz="700" b="0" dirty="0"/>
              <a:t> Institute Australia, The University of Sydney, Sydney, NSW, Australia, </a:t>
            </a:r>
            <a:r>
              <a:rPr lang="en-GB" sz="700" b="0" baseline="30000" dirty="0" err="1"/>
              <a:t>d</a:t>
            </a:r>
            <a:r>
              <a:rPr lang="en-GB" sz="700" b="0" dirty="0" err="1"/>
              <a:t>Royal</a:t>
            </a:r>
            <a:r>
              <a:rPr lang="en-GB" sz="700" b="0" dirty="0"/>
              <a:t> North Shore and Mater Hospitals, Sydney, NSW, Australia, </a:t>
            </a:r>
            <a:r>
              <a:rPr lang="en-GB" sz="700" b="0" baseline="30000" dirty="0" err="1"/>
              <a:t>e</a:t>
            </a:r>
            <a:r>
              <a:rPr lang="en-GB" sz="700" b="0" dirty="0" err="1"/>
              <a:t>Novartis</a:t>
            </a:r>
            <a:r>
              <a:rPr lang="en-GB" sz="700" b="0" dirty="0"/>
              <a:t> Pharmaceuticals Corporation, Cambridge, MA, USA, </a:t>
            </a:r>
            <a:r>
              <a:rPr lang="en-GB" sz="700" b="0" baseline="30000" dirty="0" err="1"/>
              <a:t>f</a:t>
            </a:r>
            <a:r>
              <a:rPr lang="en-GB" sz="700" b="0" dirty="0" err="1"/>
              <a:t>Princess</a:t>
            </a:r>
            <a:r>
              <a:rPr lang="en-GB" sz="700" b="0" dirty="0"/>
              <a:t> Alexandra Hospital, Gallipoli Medical Research Foundation, University of Queensland, </a:t>
            </a:r>
            <a:r>
              <a:rPr lang="en-GB" sz="700" b="0" dirty="0" err="1"/>
              <a:t>Woolloongabba</a:t>
            </a:r>
            <a:r>
              <a:rPr lang="en-GB" sz="700" b="0" dirty="0"/>
              <a:t>, QLD, Australia, </a:t>
            </a:r>
            <a:r>
              <a:rPr lang="en-GB" sz="700" b="0" baseline="30000" dirty="0" err="1"/>
              <a:t>g</a:t>
            </a:r>
            <a:r>
              <a:rPr lang="en-GB" sz="700" b="0" dirty="0" err="1"/>
              <a:t>Fondazione</a:t>
            </a:r>
            <a:r>
              <a:rPr lang="en-GB" sz="700" b="0" dirty="0"/>
              <a:t> IRCCS–</a:t>
            </a:r>
            <a:r>
              <a:rPr lang="en-GB" sz="700" b="0" dirty="0" err="1"/>
              <a:t>Istituto</a:t>
            </a:r>
            <a:r>
              <a:rPr lang="en-GB" sz="700" b="0" dirty="0"/>
              <a:t> Nazionale </a:t>
            </a:r>
            <a:r>
              <a:rPr lang="en-GB" sz="700" b="0" dirty="0" err="1"/>
              <a:t>dei</a:t>
            </a:r>
            <a:r>
              <a:rPr lang="en-GB" sz="700" b="0" dirty="0"/>
              <a:t> </a:t>
            </a:r>
            <a:r>
              <a:rPr lang="en-GB" sz="700" b="0" dirty="0" err="1"/>
              <a:t>Tumori</a:t>
            </a:r>
            <a:r>
              <a:rPr lang="en-GB" sz="700" b="0" dirty="0"/>
              <a:t> (INT), Milan, Italy, </a:t>
            </a:r>
            <a:r>
              <a:rPr lang="en-GB" sz="700" b="0" baseline="30000" dirty="0" err="1"/>
              <a:t>h</a:t>
            </a:r>
            <a:r>
              <a:rPr lang="en-GB" sz="700" b="0" dirty="0" err="1"/>
              <a:t>University</a:t>
            </a:r>
            <a:r>
              <a:rPr lang="en-GB" sz="700" b="0" dirty="0"/>
              <a:t> Hospital Essen, Essen and German Cancer Consortium, Essen and National </a:t>
            </a:r>
            <a:r>
              <a:rPr lang="en-GB" sz="700" b="0" dirty="0" err="1"/>
              <a:t>Center</a:t>
            </a:r>
            <a:r>
              <a:rPr lang="en-GB" sz="700" b="0" dirty="0"/>
              <a:t> for </a:t>
            </a:r>
            <a:r>
              <a:rPr lang="en-GB" sz="700" b="0" dirty="0" err="1"/>
              <a:t>Tumor</a:t>
            </a:r>
            <a:r>
              <a:rPr lang="en-GB" sz="700" b="0" dirty="0"/>
              <a:t> Diseases (NCT-WEST), Campus Essen and University Alliance Ruhr, Research </a:t>
            </a:r>
            <a:r>
              <a:rPr lang="en-GB" sz="700" b="0" dirty="0" err="1"/>
              <a:t>Center</a:t>
            </a:r>
            <a:r>
              <a:rPr lang="en-GB" sz="700" b="0" dirty="0"/>
              <a:t> One Health, University Duisburg-Essen, Essen, Germany, </a:t>
            </a:r>
            <a:r>
              <a:rPr lang="en-GB" sz="700" b="0" baseline="30000" dirty="0" err="1"/>
              <a:t>i</a:t>
            </a:r>
            <a:r>
              <a:rPr lang="en-GB" sz="700" b="0" dirty="0" err="1"/>
              <a:t>Department</a:t>
            </a:r>
            <a:r>
              <a:rPr lang="en-GB" sz="700" b="0" dirty="0"/>
              <a:t> of Dermatology, University Hospital Schleswig-Holstein (UKSH), Campus Kiel, Kiel, Germany, </a:t>
            </a:r>
            <a:r>
              <a:rPr lang="en-GB" sz="700" b="0" baseline="30000" dirty="0" err="1"/>
              <a:t>j</a:t>
            </a:r>
            <a:r>
              <a:rPr lang="en-GB" sz="700" b="0" dirty="0" err="1"/>
              <a:t>University</a:t>
            </a:r>
            <a:r>
              <a:rPr lang="en-GB" sz="700" b="0" dirty="0"/>
              <a:t> of Western Australia and Sir Charles Gairdner Hospital, </a:t>
            </a:r>
            <a:r>
              <a:rPr lang="en-GB" sz="700" b="0" dirty="0" err="1"/>
              <a:t>Nedlands</a:t>
            </a:r>
            <a:r>
              <a:rPr lang="en-GB" sz="700" b="0" dirty="0"/>
              <a:t>, WA, Australia, </a:t>
            </a:r>
            <a:r>
              <a:rPr lang="en-GB" sz="700" b="0" baseline="30000" dirty="0" err="1"/>
              <a:t>k</a:t>
            </a:r>
            <a:r>
              <a:rPr lang="en-GB" sz="700" b="0" dirty="0" err="1"/>
              <a:t>University</a:t>
            </a:r>
            <a:r>
              <a:rPr lang="en-GB" sz="700" b="0" dirty="0"/>
              <a:t> of Perugia, Santa Maria </a:t>
            </a:r>
            <a:r>
              <a:rPr lang="en-GB" sz="700" b="0" dirty="0" err="1"/>
              <a:t>della</a:t>
            </a:r>
            <a:r>
              <a:rPr lang="en-GB" sz="700" b="0" dirty="0"/>
              <a:t> Misericordia Hospital, Perugia, Italy, </a:t>
            </a:r>
            <a:r>
              <a:rPr lang="en-GB" sz="700" b="0" baseline="30000" dirty="0" err="1"/>
              <a:t>l</a:t>
            </a:r>
            <a:r>
              <a:rPr lang="en-GB" sz="700" b="0" dirty="0" err="1"/>
              <a:t>Oncology</a:t>
            </a:r>
            <a:r>
              <a:rPr lang="en-GB" sz="700" b="0" dirty="0"/>
              <a:t> 2, Veneto Institute of Oncology IOV–IRCCS, Padua, Italy, </a:t>
            </a:r>
            <a:r>
              <a:rPr lang="en-GB" sz="700" b="0" baseline="30000" dirty="0" err="1"/>
              <a:t>m</a:t>
            </a:r>
            <a:r>
              <a:rPr lang="en-GB" sz="700" b="0" dirty="0" err="1"/>
              <a:t>Cross</a:t>
            </a:r>
            <a:r>
              <a:rPr lang="en-GB" sz="700" b="0" dirty="0"/>
              <a:t> Cancer Institute, Edmonton, AB, Canada, </a:t>
            </a:r>
            <a:r>
              <a:rPr lang="en-GB" sz="700" b="0" baseline="30000" dirty="0" err="1"/>
              <a:t>n</a:t>
            </a:r>
            <a:r>
              <a:rPr lang="en-GB" sz="700" b="0" dirty="0" err="1"/>
              <a:t>St</a:t>
            </a:r>
            <a:r>
              <a:rPr lang="en-GB" sz="700" b="0" dirty="0"/>
              <a:t> Petersburg Oncology Hospital, St Petersburg, Russia, </a:t>
            </a:r>
            <a:r>
              <a:rPr lang="en-GB" sz="700" b="0" baseline="30000" dirty="0" err="1"/>
              <a:t>o</a:t>
            </a:r>
            <a:r>
              <a:rPr lang="en-GB" sz="700" b="0" dirty="0" err="1"/>
              <a:t>University</a:t>
            </a:r>
            <a:r>
              <a:rPr lang="en-GB" sz="700" b="0" dirty="0"/>
              <a:t> Hospital Zürich Skin Cancer </a:t>
            </a:r>
            <a:r>
              <a:rPr lang="en-GB" sz="700" b="0" dirty="0" err="1"/>
              <a:t>Center</a:t>
            </a:r>
            <a:r>
              <a:rPr lang="en-GB" sz="700" b="0" dirty="0"/>
              <a:t>, Zürich, Switzerland, </a:t>
            </a:r>
            <a:r>
              <a:rPr lang="en-GB" sz="700" b="0" baseline="30000" dirty="0" err="1"/>
              <a:t>p</a:t>
            </a:r>
            <a:r>
              <a:rPr lang="en-GB" sz="700" b="0" dirty="0" err="1"/>
              <a:t>Booz</a:t>
            </a:r>
            <a:r>
              <a:rPr lang="en-GB" sz="700" b="0" dirty="0"/>
              <a:t> Allen Hamilton, Washington DC, MD, USA, </a:t>
            </a:r>
            <a:r>
              <a:rPr lang="en-GB" sz="700" b="0" baseline="30000" dirty="0" err="1"/>
              <a:t>q</a:t>
            </a:r>
            <a:r>
              <a:rPr lang="en-GB" sz="700" b="0" dirty="0" err="1"/>
              <a:t>Novartis</a:t>
            </a:r>
            <a:r>
              <a:rPr lang="en-GB" sz="700" b="0" dirty="0"/>
              <a:t> Healthcare, Hyderabad, India, </a:t>
            </a:r>
            <a:r>
              <a:rPr lang="en-GB" sz="700" b="0" baseline="30000" dirty="0" err="1"/>
              <a:t>r</a:t>
            </a:r>
            <a:r>
              <a:rPr lang="en-GB" sz="700" b="0" dirty="0" err="1"/>
              <a:t>Novartis</a:t>
            </a:r>
            <a:r>
              <a:rPr lang="en-GB" sz="700" b="0" dirty="0"/>
              <a:t> Pharmaceuticals, East Hanover, NJ, USA</a:t>
            </a:r>
          </a:p>
          <a:p>
            <a:endParaRPr lang="en-GB" sz="400" b="0" dirty="0"/>
          </a:p>
        </p:txBody>
      </p:sp>
    </p:spTree>
    <p:extLst>
      <p:ext uri="{BB962C8B-B14F-4D97-AF65-F5344CB8AC3E}">
        <p14:creationId xmlns:p14="http://schemas.microsoft.com/office/powerpoint/2010/main" val="16290135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648164-6A1D-7885-085D-B2633AF28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intergrund und Studienzi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074CA0-BEA1-BE82-4F21-EC41FB6FF7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33524" y="1411694"/>
            <a:ext cx="7677151" cy="4477931"/>
          </a:xfrm>
        </p:spPr>
        <p:txBody>
          <a:bodyPr/>
          <a:lstStyle/>
          <a:p>
            <a:pPr>
              <a:buClr>
                <a:schemeClr val="accent2"/>
              </a:buClr>
            </a:pPr>
            <a:endParaRPr lang="de-DE" sz="1800" b="0" dirty="0">
              <a:solidFill>
                <a:schemeClr val="accent1"/>
              </a:solidFill>
            </a:endParaRPr>
          </a:p>
          <a:p>
            <a:r>
              <a:rPr lang="de-DE" sz="1800" dirty="0">
                <a:solidFill>
                  <a:schemeClr val="accent6"/>
                </a:solidFill>
              </a:rPr>
              <a:t>Hintergrund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800" b="0" i="1" dirty="0" err="1">
                <a:solidFill>
                  <a:schemeClr val="tx2"/>
                </a:solidFill>
              </a:rPr>
              <a:t>Circulating</a:t>
            </a:r>
            <a:r>
              <a:rPr lang="de-DE" sz="1800" b="0" i="1" dirty="0">
                <a:solidFill>
                  <a:schemeClr val="tx2"/>
                </a:solidFill>
              </a:rPr>
              <a:t> </a:t>
            </a:r>
            <a:r>
              <a:rPr lang="de-DE" sz="1800" b="0" i="1" dirty="0" err="1">
                <a:solidFill>
                  <a:schemeClr val="tx2"/>
                </a:solidFill>
              </a:rPr>
              <a:t>tumour</a:t>
            </a:r>
            <a:r>
              <a:rPr lang="de-DE" sz="1800" b="0" dirty="0">
                <a:solidFill>
                  <a:schemeClr val="tx2"/>
                </a:solidFill>
              </a:rPr>
              <a:t> DNA (</a:t>
            </a:r>
            <a:r>
              <a:rPr lang="de-DE" sz="1800" b="0" dirty="0" err="1">
                <a:solidFill>
                  <a:schemeClr val="tx2"/>
                </a:solidFill>
              </a:rPr>
              <a:t>ctDNA</a:t>
            </a:r>
            <a:r>
              <a:rPr lang="de-DE" sz="1800" b="0" dirty="0">
                <a:solidFill>
                  <a:schemeClr val="tx2"/>
                </a:solidFill>
              </a:rPr>
              <a:t>) eignet sich zum Nachweis einer minimalen Resterkrankung (MRD) sowie für den Nachweis eines Rezidivs wie aber auch für die Abschätzung eines Therapieansprechens bzw. einer Therapieresistenz, wird bei der Melanom-Therapie jedoch bisher nicht routinemäßig eingesetzt</a:t>
            </a:r>
          </a:p>
          <a:p>
            <a:endParaRPr lang="de-DE" sz="1800" dirty="0">
              <a:solidFill>
                <a:schemeClr val="accent6"/>
              </a:solidFill>
            </a:endParaRPr>
          </a:p>
          <a:p>
            <a:r>
              <a:rPr lang="de-DE" sz="1800" dirty="0">
                <a:solidFill>
                  <a:schemeClr val="accent6"/>
                </a:solidFill>
              </a:rPr>
              <a:t>Studienziel</a:t>
            </a:r>
            <a:r>
              <a:rPr lang="de-DE" sz="1800" b="0" dirty="0">
                <a:solidFill>
                  <a:schemeClr val="accent1"/>
                </a:solidFill>
              </a:rPr>
              <a:t> </a:t>
            </a:r>
          </a:p>
          <a:p>
            <a:pPr>
              <a:buClr>
                <a:schemeClr val="accent2"/>
              </a:buClr>
            </a:pPr>
            <a:r>
              <a:rPr lang="de-DE" sz="1800" b="0" dirty="0">
                <a:solidFill>
                  <a:schemeClr val="accent1"/>
                </a:solidFill>
              </a:rPr>
              <a:t>Evaluation, ob sich </a:t>
            </a:r>
            <a:r>
              <a:rPr lang="de-DE" sz="1800" dirty="0">
                <a:solidFill>
                  <a:schemeClr val="accent1"/>
                </a:solidFill>
              </a:rPr>
              <a:t>mittels </a:t>
            </a:r>
            <a:r>
              <a:rPr lang="de-DE" sz="1800" dirty="0" err="1">
                <a:solidFill>
                  <a:schemeClr val="accent1"/>
                </a:solidFill>
              </a:rPr>
              <a:t>ctDNA</a:t>
            </a:r>
            <a:r>
              <a:rPr lang="de-DE" sz="1800" dirty="0">
                <a:solidFill>
                  <a:schemeClr val="accent1"/>
                </a:solidFill>
              </a:rPr>
              <a:t>-Messungen </a:t>
            </a:r>
          </a:p>
          <a:p>
            <a:pPr marL="558900" lvl="2" indent="-342900">
              <a:buClr>
                <a:schemeClr val="accent2"/>
              </a:buClr>
              <a:buFont typeface="+mj-lt"/>
              <a:buAutoNum type="arabicPeriod"/>
            </a:pPr>
            <a:r>
              <a:rPr lang="de-DE" sz="1800" b="0" dirty="0">
                <a:solidFill>
                  <a:schemeClr val="accent1"/>
                </a:solidFill>
              </a:rPr>
              <a:t>Ergebnisse für </a:t>
            </a:r>
            <a:r>
              <a:rPr lang="de-DE" sz="1800" b="1" dirty="0">
                <a:solidFill>
                  <a:schemeClr val="accent1"/>
                </a:solidFill>
              </a:rPr>
              <a:t>RFS und OS </a:t>
            </a:r>
            <a:r>
              <a:rPr lang="de-DE" sz="1800" dirty="0">
                <a:solidFill>
                  <a:schemeClr val="accent1"/>
                </a:solidFill>
              </a:rPr>
              <a:t>bei </a:t>
            </a:r>
            <a:r>
              <a:rPr lang="de-DE" sz="1800" b="0" dirty="0">
                <a:solidFill>
                  <a:schemeClr val="accent1"/>
                </a:solidFill>
              </a:rPr>
              <a:t>einer adjuvanten zielgerichteten Therapie mit </a:t>
            </a:r>
            <a:r>
              <a:rPr lang="de-DE" sz="1800" dirty="0">
                <a:solidFill>
                  <a:schemeClr val="accent1"/>
                </a:solidFill>
              </a:rPr>
              <a:t>Dabrafenib und </a:t>
            </a:r>
            <a:r>
              <a:rPr lang="de-DE" sz="1800" dirty="0" err="1">
                <a:solidFill>
                  <a:schemeClr val="accent1"/>
                </a:solidFill>
              </a:rPr>
              <a:t>Trametinib</a:t>
            </a:r>
            <a:r>
              <a:rPr lang="de-DE" sz="1800" dirty="0">
                <a:solidFill>
                  <a:schemeClr val="accent1"/>
                </a:solidFill>
              </a:rPr>
              <a:t> </a:t>
            </a:r>
            <a:r>
              <a:rPr lang="de-DE" sz="1800" b="0" dirty="0">
                <a:solidFill>
                  <a:schemeClr val="accent1"/>
                </a:solidFill>
              </a:rPr>
              <a:t>bzw. Placebo </a:t>
            </a:r>
            <a:r>
              <a:rPr lang="de-DE" sz="1800" b="1" dirty="0">
                <a:solidFill>
                  <a:schemeClr val="accent1"/>
                </a:solidFill>
              </a:rPr>
              <a:t>voraussagen</a:t>
            </a:r>
            <a:r>
              <a:rPr lang="de-DE" sz="1800" b="0" dirty="0">
                <a:solidFill>
                  <a:schemeClr val="accent1"/>
                </a:solidFill>
              </a:rPr>
              <a:t> lassen</a:t>
            </a:r>
          </a:p>
          <a:p>
            <a:pPr marL="558900" lvl="2" indent="-342900">
              <a:buClr>
                <a:schemeClr val="accent2"/>
              </a:buClr>
              <a:buFont typeface="+mj-lt"/>
              <a:buAutoNum type="arabicPeriod"/>
            </a:pPr>
            <a:r>
              <a:rPr lang="de-DE" sz="1800" b="1" dirty="0">
                <a:solidFill>
                  <a:schemeClr val="accent1"/>
                </a:solidFill>
              </a:rPr>
              <a:t>Patient*innen mit hohem und niedrigem Rezidivrisiko nach Komplettresektion identifizieren </a:t>
            </a:r>
            <a:r>
              <a:rPr lang="de-DE" sz="1800" b="0" dirty="0">
                <a:solidFill>
                  <a:schemeClr val="accent1"/>
                </a:solidFill>
              </a:rPr>
              <a:t>lass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E77C3F-2114-42AB-F3A5-CB0E19744B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838" y="5970806"/>
            <a:ext cx="9267825" cy="587375"/>
          </a:xfrm>
        </p:spPr>
        <p:txBody>
          <a:bodyPr/>
          <a:lstStyle/>
          <a:p>
            <a:r>
              <a:rPr lang="de-DE" b="1" dirty="0"/>
              <a:t>RFS</a:t>
            </a:r>
            <a:r>
              <a:rPr lang="de-DE" dirty="0"/>
              <a:t> </a:t>
            </a:r>
            <a:r>
              <a:rPr lang="de-DE" dirty="0" err="1"/>
              <a:t>Rezidivfreies</a:t>
            </a:r>
            <a:r>
              <a:rPr lang="de-DE" dirty="0"/>
              <a:t> Überleben. </a:t>
            </a:r>
            <a:r>
              <a:rPr lang="de-DE" b="1" dirty="0"/>
              <a:t>OS</a:t>
            </a:r>
            <a:r>
              <a:rPr lang="de-DE" dirty="0"/>
              <a:t> Gesamtüberleben. </a:t>
            </a:r>
          </a:p>
        </p:txBody>
      </p:sp>
      <p:pic>
        <p:nvPicPr>
          <p:cNvPr id="7" name="Grafik 6" descr="Ein Bild, das Kreis, Grafiken enthält.&#10;&#10;KI-generierte Inhalte können fehlerhaft sein.">
            <a:extLst>
              <a:ext uri="{FF2B5EF4-FFF2-40B4-BE49-F238E27FC236}">
                <a16:creationId xmlns:a16="http://schemas.microsoft.com/office/drawing/2014/main" id="{E50CA967-3F39-4B4E-BED4-07C421DA4B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181" y="3290659"/>
            <a:ext cx="720000" cy="720000"/>
          </a:xfrm>
          <a:prstGeom prst="rect">
            <a:avLst/>
          </a:prstGeom>
        </p:spPr>
      </p:pic>
      <p:pic>
        <p:nvPicPr>
          <p:cNvPr id="4" name="Grafik 3" descr="Ein Bild, das Grafiken, Kreis, Schrift, Logo enthält.&#10;&#10;KI-generierte Inhalte können fehlerhaft sein.">
            <a:extLst>
              <a:ext uri="{FF2B5EF4-FFF2-40B4-BE49-F238E27FC236}">
                <a16:creationId xmlns:a16="http://schemas.microsoft.com/office/drawing/2014/main" id="{C714C730-2357-090A-EBFC-5F67005E3D9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16" y="1563122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6005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FE6D7DE-85C3-6069-2A24-3210C65B29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0171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E6D7DE-85C3-6069-2A24-3210C65B29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9D75BDC-7FE1-95C6-B797-26E7F81D5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ethod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19BFA28-4129-9CCF-D014-4235BA7639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68192" y="1573619"/>
            <a:ext cx="8404471" cy="4477931"/>
          </a:xfrm>
        </p:spPr>
        <p:txBody>
          <a:bodyPr/>
          <a:lstStyle/>
          <a:p>
            <a:pPr marL="0" lvl="2" indent="0">
              <a:buClr>
                <a:schemeClr val="accent2"/>
              </a:buClr>
              <a:buNone/>
            </a:pPr>
            <a:r>
              <a:rPr lang="de-DE" dirty="0">
                <a:solidFill>
                  <a:schemeClr val="accent6"/>
                </a:solidFill>
              </a:rPr>
              <a:t>Methoden</a:t>
            </a:r>
          </a:p>
          <a:p>
            <a:pPr marL="558900" lvl="2" indent="-342900">
              <a:buClr>
                <a:schemeClr val="accent2"/>
              </a:buClr>
            </a:pPr>
            <a:r>
              <a:rPr lang="de-DE" b="0" dirty="0">
                <a:solidFill>
                  <a:schemeClr val="accent1"/>
                </a:solidFill>
              </a:rPr>
              <a:t>Studienpopulation: 597 von 870 Teilnehmer*innen der </a:t>
            </a:r>
            <a:r>
              <a:rPr lang="de-DE" b="1" dirty="0">
                <a:solidFill>
                  <a:schemeClr val="accent1"/>
                </a:solidFill>
              </a:rPr>
              <a:t>COMBI-AD-Studie</a:t>
            </a:r>
            <a:r>
              <a:rPr lang="de-DE" b="0" baseline="30000" dirty="0">
                <a:solidFill>
                  <a:schemeClr val="accent1"/>
                </a:solidFill>
              </a:rPr>
              <a:t>1</a:t>
            </a:r>
            <a:r>
              <a:rPr lang="de-DE" b="0" dirty="0">
                <a:solidFill>
                  <a:schemeClr val="accent1"/>
                </a:solidFill>
              </a:rPr>
              <a:t> (69 %) mit reseziertem Melanom im Stadium III, die eine </a:t>
            </a:r>
            <a:r>
              <a:rPr lang="de-DE" b="1" dirty="0">
                <a:solidFill>
                  <a:schemeClr val="accent1"/>
                </a:solidFill>
              </a:rPr>
              <a:t>adjuvante Therapie mit Dabrafenib und </a:t>
            </a:r>
            <a:r>
              <a:rPr lang="de-DE" b="1" dirty="0" err="1">
                <a:solidFill>
                  <a:schemeClr val="accent1"/>
                </a:solidFill>
              </a:rPr>
              <a:t>Trametinib</a:t>
            </a:r>
            <a:r>
              <a:rPr lang="de-DE" b="1" dirty="0">
                <a:solidFill>
                  <a:schemeClr val="accent1"/>
                </a:solidFill>
              </a:rPr>
              <a:t> bzw. Placebo </a:t>
            </a:r>
            <a:r>
              <a:rPr lang="de-DE" b="0" dirty="0">
                <a:solidFill>
                  <a:schemeClr val="accent1"/>
                </a:solidFill>
              </a:rPr>
              <a:t>erhielten</a:t>
            </a:r>
          </a:p>
          <a:p>
            <a:pPr marL="558900" lvl="2" indent="-342900">
              <a:buClr>
                <a:schemeClr val="accent2"/>
              </a:buClr>
            </a:pPr>
            <a:r>
              <a:rPr lang="de-DE" dirty="0">
                <a:solidFill>
                  <a:schemeClr val="accent1"/>
                </a:solidFill>
              </a:rPr>
              <a:t>Mutationsstatus der Patient*innen war bekannt (BRAFV600E/K) </a:t>
            </a:r>
            <a:endParaRPr lang="de-DE" b="0" dirty="0">
              <a:solidFill>
                <a:schemeClr val="accent1"/>
              </a:solidFill>
            </a:endParaRPr>
          </a:p>
          <a:p>
            <a:pPr marL="558900" lvl="2" indent="-342900">
              <a:buClr>
                <a:schemeClr val="accent2"/>
              </a:buClr>
            </a:pPr>
            <a:r>
              <a:rPr lang="de-DE" dirty="0">
                <a:solidFill>
                  <a:schemeClr val="accent1"/>
                </a:solidFill>
              </a:rPr>
              <a:t>Prospektive Sammlung von </a:t>
            </a:r>
            <a:r>
              <a:rPr lang="de-DE" b="1" dirty="0">
                <a:solidFill>
                  <a:schemeClr val="accent1"/>
                </a:solidFill>
              </a:rPr>
              <a:t>Plasmaproben</a:t>
            </a:r>
            <a:r>
              <a:rPr lang="de-DE" dirty="0">
                <a:solidFill>
                  <a:schemeClr val="accent1"/>
                </a:solidFill>
              </a:rPr>
              <a:t> im Studienverlauf und </a:t>
            </a:r>
            <a:r>
              <a:rPr lang="de-DE" b="1" dirty="0">
                <a:solidFill>
                  <a:schemeClr val="accent1"/>
                </a:solidFill>
              </a:rPr>
              <a:t>Analyse mittels </a:t>
            </a:r>
            <a:r>
              <a:rPr lang="de-DE" b="1" i="1" dirty="0" err="1">
                <a:solidFill>
                  <a:schemeClr val="accent1"/>
                </a:solidFill>
              </a:rPr>
              <a:t>droplet</a:t>
            </a:r>
            <a:r>
              <a:rPr lang="de-DE" b="1" i="1" dirty="0">
                <a:solidFill>
                  <a:schemeClr val="accent1"/>
                </a:solidFill>
              </a:rPr>
              <a:t> digital </a:t>
            </a:r>
            <a:r>
              <a:rPr lang="de-DE" b="1" dirty="0">
                <a:solidFill>
                  <a:schemeClr val="accent1"/>
                </a:solidFill>
              </a:rPr>
              <a:t>PCR zur Detektion von mutationsspezifischer </a:t>
            </a:r>
            <a:r>
              <a:rPr lang="de-DE" b="1" dirty="0" err="1">
                <a:solidFill>
                  <a:schemeClr val="accent1"/>
                </a:solidFill>
              </a:rPr>
              <a:t>ctDNA</a:t>
            </a:r>
            <a:r>
              <a:rPr lang="de-DE" b="1" dirty="0">
                <a:solidFill>
                  <a:schemeClr val="accent1"/>
                </a:solidFill>
              </a:rPr>
              <a:t> </a:t>
            </a:r>
            <a:r>
              <a:rPr lang="de-DE" dirty="0">
                <a:solidFill>
                  <a:schemeClr val="accent1"/>
                </a:solidFill>
              </a:rPr>
              <a:t>(BRAFV600E/K) </a:t>
            </a:r>
            <a:endParaRPr lang="de-DE" b="1" dirty="0">
              <a:solidFill>
                <a:schemeClr val="accent1"/>
              </a:solidFill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BCBF4D8-C667-38F1-2AD3-47B6220C72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838" y="5949602"/>
            <a:ext cx="9267825" cy="587375"/>
          </a:xfrm>
        </p:spPr>
        <p:txBody>
          <a:bodyPr/>
          <a:lstStyle/>
          <a:p>
            <a:r>
              <a:rPr lang="de-DE" b="1" dirty="0"/>
              <a:t>BRAF </a:t>
            </a:r>
            <a:r>
              <a:rPr lang="de-DE" dirty="0"/>
              <a:t>Serin/Threonin-Kinase B-</a:t>
            </a:r>
            <a:r>
              <a:rPr lang="de-DE" dirty="0" err="1"/>
              <a:t>Raf</a:t>
            </a:r>
            <a:r>
              <a:rPr lang="de-DE" dirty="0"/>
              <a:t>. </a:t>
            </a:r>
            <a:r>
              <a:rPr lang="de-DE" b="1" dirty="0" err="1"/>
              <a:t>ctDNA</a:t>
            </a:r>
            <a:r>
              <a:rPr lang="de-DE" b="1" dirty="0"/>
              <a:t> </a:t>
            </a:r>
            <a:r>
              <a:rPr lang="de-DE" i="1" dirty="0" err="1"/>
              <a:t>circulating</a:t>
            </a:r>
            <a:r>
              <a:rPr lang="de-DE" i="1" dirty="0"/>
              <a:t> </a:t>
            </a:r>
            <a:r>
              <a:rPr lang="de-DE" i="1" dirty="0" err="1"/>
              <a:t>tumour</a:t>
            </a:r>
            <a:r>
              <a:rPr lang="de-DE" i="1" dirty="0"/>
              <a:t> </a:t>
            </a:r>
            <a:r>
              <a:rPr lang="de-DE" dirty="0"/>
              <a:t>DNA. </a:t>
            </a:r>
            <a:r>
              <a:rPr lang="de-DE" b="1" dirty="0"/>
              <a:t>D </a:t>
            </a:r>
            <a:r>
              <a:rPr lang="de-DE" dirty="0"/>
              <a:t>Dabrafenib. </a:t>
            </a:r>
            <a:r>
              <a:rPr lang="de-DE" b="1" dirty="0"/>
              <a:t>T</a:t>
            </a:r>
            <a:r>
              <a:rPr lang="de-DE" dirty="0"/>
              <a:t> </a:t>
            </a:r>
            <a:r>
              <a:rPr lang="de-DE" dirty="0" err="1"/>
              <a:t>Trametinib</a:t>
            </a:r>
            <a:r>
              <a:rPr lang="de-DE" dirty="0"/>
              <a:t>.</a:t>
            </a:r>
          </a:p>
          <a:p>
            <a:r>
              <a:rPr lang="fr-FR" b="1" dirty="0"/>
              <a:t>1</a:t>
            </a:r>
            <a:r>
              <a:rPr lang="fr-FR" dirty="0"/>
              <a:t> Long GV, et al. Lancet. 2015;386:444-451</a:t>
            </a:r>
            <a:endParaRPr lang="de-DE" dirty="0"/>
          </a:p>
        </p:txBody>
      </p:sp>
      <p:pic>
        <p:nvPicPr>
          <p:cNvPr id="8" name="Grafik 7" descr="Ein Bild, das Kreis, Grafiken, Schrift, Logo enthält.&#10;&#10;KI-generierte Inhalte können fehlerhaft sein.">
            <a:extLst>
              <a:ext uri="{FF2B5EF4-FFF2-40B4-BE49-F238E27FC236}">
                <a16:creationId xmlns:a16="http://schemas.microsoft.com/office/drawing/2014/main" id="{58C11A00-2395-9968-B292-B30BC5EFCC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838" y="1376364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4654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565C4BAB-AE79-1332-6175-250DA27CF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2584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5C4BAB-AE79-1332-6175-250DA27CF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CEF150-5FD1-33AE-9FCF-FCDA1054A1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838" y="5949600"/>
            <a:ext cx="9267825" cy="587375"/>
          </a:xfrm>
        </p:spPr>
        <p:txBody>
          <a:bodyPr/>
          <a:lstStyle/>
          <a:p>
            <a:r>
              <a:rPr lang="en-US" b="1" dirty="0"/>
              <a:t>a </a:t>
            </a:r>
            <a:r>
              <a:rPr lang="de-DE" dirty="0"/>
              <a:t>Der festgelegte Grenzwert für die Bestimmung </a:t>
            </a:r>
            <a:r>
              <a:rPr lang="de-DE" dirty="0" err="1"/>
              <a:t>ctDNA</a:t>
            </a:r>
            <a:r>
              <a:rPr lang="de-DE" dirty="0"/>
              <a:t>-positiver Proben lag bei 0,28 Kopien/ml für </a:t>
            </a:r>
            <a:r>
              <a:rPr lang="de-DE" i="1" dirty="0"/>
              <a:t>BRAF</a:t>
            </a:r>
            <a:r>
              <a:rPr lang="de-DE" dirty="0"/>
              <a:t>V600E und 0.34 Kopien/ml für BRAFV600K. Die vertikale Linie nach 12 Monaten markiert das Ende der Behandlungsphase.</a:t>
            </a:r>
          </a:p>
          <a:p>
            <a:r>
              <a:rPr lang="en-US" b="1" dirty="0"/>
              <a:t>ctDNA</a:t>
            </a:r>
            <a:r>
              <a:rPr lang="en-US" dirty="0"/>
              <a:t> </a:t>
            </a:r>
            <a:r>
              <a:rPr lang="en-US" i="1" dirty="0"/>
              <a:t>circulating </a:t>
            </a:r>
            <a:r>
              <a:rPr lang="en-US" i="1" dirty="0" err="1"/>
              <a:t>tumour</a:t>
            </a:r>
            <a:r>
              <a:rPr lang="en-US" i="1" dirty="0"/>
              <a:t> </a:t>
            </a:r>
            <a:r>
              <a:rPr lang="en-US" dirty="0"/>
              <a:t>DNA. </a:t>
            </a:r>
            <a:r>
              <a:rPr lang="en-US" b="1" dirty="0"/>
              <a:t>HR </a:t>
            </a:r>
            <a:r>
              <a:rPr lang="en-US" i="1" dirty="0"/>
              <a:t>Hazard Ratio</a:t>
            </a:r>
            <a:r>
              <a:rPr lang="en-US" dirty="0"/>
              <a:t>. </a:t>
            </a:r>
            <a:r>
              <a:rPr lang="en-US" b="1" dirty="0"/>
              <a:t>NR</a:t>
            </a:r>
            <a:r>
              <a:rPr lang="en-US" dirty="0"/>
              <a:t> </a:t>
            </a:r>
            <a:r>
              <a:rPr lang="en-US" dirty="0" err="1"/>
              <a:t>nicht</a:t>
            </a:r>
            <a:r>
              <a:rPr lang="en-US" dirty="0"/>
              <a:t> </a:t>
            </a:r>
            <a:r>
              <a:rPr lang="en-US" dirty="0" err="1"/>
              <a:t>erreicht</a:t>
            </a:r>
            <a:r>
              <a:rPr lang="en-US" dirty="0"/>
              <a:t>.</a:t>
            </a:r>
            <a:r>
              <a:rPr lang="en-US" b="1" dirty="0"/>
              <a:t> RFS</a:t>
            </a:r>
            <a:r>
              <a:rPr lang="en-US" dirty="0"/>
              <a:t> </a:t>
            </a:r>
            <a:r>
              <a:rPr lang="en-US" dirty="0" err="1"/>
              <a:t>Rezidivfreies</a:t>
            </a:r>
            <a:r>
              <a:rPr lang="en-US" dirty="0"/>
              <a:t> </a:t>
            </a:r>
            <a:r>
              <a:rPr lang="en-US" dirty="0" err="1"/>
              <a:t>Überleben</a:t>
            </a:r>
            <a:r>
              <a:rPr lang="en-US" dirty="0"/>
              <a:t>.</a:t>
            </a:r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ABEDCEE-05D6-4E67-BD29-C7B9582E7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054192" cy="1065278"/>
          </a:xfrm>
        </p:spPr>
        <p:txBody>
          <a:bodyPr vert="horz"/>
          <a:lstStyle/>
          <a:p>
            <a:r>
              <a:rPr lang="de-DE" dirty="0" err="1"/>
              <a:t>Rezidivfreies</a:t>
            </a:r>
            <a:r>
              <a:rPr lang="de-DE" dirty="0"/>
              <a:t> Überleben (RFS) stratifiziert nach Behandlungsgruppe und </a:t>
            </a:r>
            <a:r>
              <a:rPr lang="de-DE" i="1" dirty="0"/>
              <a:t>BRAF</a:t>
            </a:r>
            <a:r>
              <a:rPr lang="de-DE" dirty="0"/>
              <a:t> </a:t>
            </a:r>
            <a:r>
              <a:rPr lang="de-DE" dirty="0" err="1"/>
              <a:t>ctDNA</a:t>
            </a:r>
            <a:r>
              <a:rPr lang="de-DE" dirty="0"/>
              <a:t> zu </a:t>
            </a:r>
            <a:r>
              <a:rPr lang="de-DE" dirty="0" err="1"/>
              <a:t>Studienbeginn</a:t>
            </a:r>
            <a:r>
              <a:rPr lang="de-DE" baseline="30000" dirty="0" err="1"/>
              <a:t>a</a:t>
            </a:r>
            <a:endParaRPr lang="de-DE" baseline="30000" dirty="0"/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59214E62-4A51-DF1D-FB2F-F44467E4C3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463859"/>
              </p:ext>
            </p:extLst>
          </p:nvPr>
        </p:nvGraphicFramePr>
        <p:xfrm>
          <a:off x="6523516" y="1779179"/>
          <a:ext cx="5135514" cy="1321487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1293532">
                  <a:extLst>
                    <a:ext uri="{9D8B030D-6E8A-4147-A177-3AD203B41FA5}">
                      <a16:colId xmlns:a16="http://schemas.microsoft.com/office/drawing/2014/main" val="4117669799"/>
                    </a:ext>
                  </a:extLst>
                </a:gridCol>
                <a:gridCol w="386129">
                  <a:extLst>
                    <a:ext uri="{9D8B030D-6E8A-4147-A177-3AD203B41FA5}">
                      <a16:colId xmlns:a16="http://schemas.microsoft.com/office/drawing/2014/main" val="2166316309"/>
                    </a:ext>
                  </a:extLst>
                </a:gridCol>
                <a:gridCol w="733645">
                  <a:extLst>
                    <a:ext uri="{9D8B030D-6E8A-4147-A177-3AD203B41FA5}">
                      <a16:colId xmlns:a16="http://schemas.microsoft.com/office/drawing/2014/main" val="1508757273"/>
                    </a:ext>
                  </a:extLst>
                </a:gridCol>
                <a:gridCol w="1177693">
                  <a:extLst>
                    <a:ext uri="{9D8B030D-6E8A-4147-A177-3AD203B41FA5}">
                      <a16:colId xmlns:a16="http://schemas.microsoft.com/office/drawing/2014/main" val="1307648116"/>
                    </a:ext>
                  </a:extLst>
                </a:gridCol>
                <a:gridCol w="889845">
                  <a:extLst>
                    <a:ext uri="{9D8B030D-6E8A-4147-A177-3AD203B41FA5}">
                      <a16:colId xmlns:a16="http://schemas.microsoft.com/office/drawing/2014/main" val="3921294427"/>
                    </a:ext>
                  </a:extLst>
                </a:gridCol>
                <a:gridCol w="654670">
                  <a:extLst>
                    <a:ext uri="{9D8B030D-6E8A-4147-A177-3AD203B41FA5}">
                      <a16:colId xmlns:a16="http://schemas.microsoft.com/office/drawing/2014/main" val="1485311889"/>
                    </a:ext>
                  </a:extLst>
                </a:gridCol>
              </a:tblGrid>
              <a:tr h="372023">
                <a:tc>
                  <a:txBody>
                    <a:bodyPr/>
                    <a:lstStyle/>
                    <a:p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Ereignis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Medianes RFS (95%-KI), Mo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HR (95%-K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P-We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4645413"/>
                  </a:ext>
                </a:extLst>
              </a:tr>
              <a:tr h="474732">
                <a:tc>
                  <a:txBody>
                    <a:bodyPr/>
                    <a:lstStyle/>
                    <a:p>
                      <a:r>
                        <a:rPr lang="de-DE" sz="800" b="1" dirty="0">
                          <a:solidFill>
                            <a:schemeClr val="tx2"/>
                          </a:solidFill>
                        </a:rPr>
                        <a:t>Placebo</a:t>
                      </a:r>
                    </a:p>
                    <a:p>
                      <a:r>
                        <a:rPr lang="de-DE" sz="800" dirty="0" err="1">
                          <a:solidFill>
                            <a:schemeClr val="tx2"/>
                          </a:solidFill>
                        </a:rPr>
                        <a:t>ctDNA</a:t>
                      </a:r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 detektierbar</a:t>
                      </a:r>
                    </a:p>
                    <a:p>
                      <a:r>
                        <a:rPr lang="de-DE" sz="800" dirty="0" err="1">
                          <a:solidFill>
                            <a:schemeClr val="tx2"/>
                          </a:solidFill>
                        </a:rPr>
                        <a:t>ctDNA</a:t>
                      </a:r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 nicht detektierb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41</a:t>
                      </a: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2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34</a:t>
                      </a: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1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3,71 (2,39–6,89)</a:t>
                      </a: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24,41 (17,28–43,1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2,91 (1,99–4,25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p&lt;0,0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0673534"/>
                  </a:ext>
                </a:extLst>
              </a:tr>
              <a:tr h="474732">
                <a:tc>
                  <a:txBody>
                    <a:bodyPr/>
                    <a:lstStyle/>
                    <a:p>
                      <a:r>
                        <a:rPr lang="de-DE" sz="800" b="1" dirty="0">
                          <a:solidFill>
                            <a:schemeClr val="tx2"/>
                          </a:solidFill>
                        </a:rPr>
                        <a:t>Kombinationstherapie</a:t>
                      </a:r>
                    </a:p>
                    <a:p>
                      <a:r>
                        <a:rPr lang="de-DE" sz="800" dirty="0" err="1">
                          <a:solidFill>
                            <a:schemeClr val="tx2"/>
                          </a:solidFill>
                        </a:rPr>
                        <a:t>ctDNA</a:t>
                      </a:r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 detektierbar</a:t>
                      </a:r>
                    </a:p>
                    <a:p>
                      <a:r>
                        <a:rPr lang="de-DE" sz="800" dirty="0" err="1">
                          <a:solidFill>
                            <a:schemeClr val="tx2"/>
                          </a:solidFill>
                        </a:rPr>
                        <a:t>ctDNA</a:t>
                      </a:r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 nicht detektierb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38</a:t>
                      </a: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27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27</a:t>
                      </a: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1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16,59 (12,02–26,80)</a:t>
                      </a: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68,11 (50,36–NA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2,98 (1,95–4,5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p&lt;0,0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825504"/>
                  </a:ext>
                </a:extLst>
              </a:tr>
            </a:tbl>
          </a:graphicData>
        </a:graphic>
      </p:graphicFrame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66276C68-6CC2-6914-1971-0343D6A69262}"/>
              </a:ext>
            </a:extLst>
          </p:cNvPr>
          <p:cNvSpPr/>
          <p:nvPr/>
        </p:nvSpPr>
        <p:spPr>
          <a:xfrm>
            <a:off x="6367179" y="3598335"/>
            <a:ext cx="3386421" cy="203517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de-DE" sz="1600" b="1" dirty="0">
                <a:solidFill>
                  <a:schemeClr val="tx2"/>
                </a:solidFill>
              </a:rPr>
              <a:t>Patient*innen mit nachweisbarer </a:t>
            </a:r>
            <a:r>
              <a:rPr lang="de-DE" sz="1600" b="1" dirty="0" err="1">
                <a:solidFill>
                  <a:schemeClr val="tx2"/>
                </a:solidFill>
              </a:rPr>
              <a:t>ctDNA</a:t>
            </a:r>
            <a:r>
              <a:rPr lang="de-DE" sz="1600" b="1" dirty="0">
                <a:solidFill>
                  <a:schemeClr val="tx2"/>
                </a:solidFill>
              </a:rPr>
              <a:t> zu Studienbeginn wiesen in beiden Behandlungsgruppen ein signifikant geringeres RFS auf </a:t>
            </a:r>
          </a:p>
        </p:txBody>
      </p:sp>
      <p:pic>
        <p:nvPicPr>
          <p:cNvPr id="9" name="Grafik 8" descr="Ein Bild, das Kreis, Grafiken, Farbigkeit, orange enthält.&#10;&#10;KI-generierte Inhalte können fehlerhaft sein.">
            <a:extLst>
              <a:ext uri="{FF2B5EF4-FFF2-40B4-BE49-F238E27FC236}">
                <a16:creationId xmlns:a16="http://schemas.microsoft.com/office/drawing/2014/main" id="{EE7FB80B-9403-87A7-790A-5EDFBD792A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020" y="3482409"/>
            <a:ext cx="720000" cy="72000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7B904D8B-DB8C-5E28-AA76-36C8FA1733B6}"/>
              </a:ext>
            </a:extLst>
          </p:cNvPr>
          <p:cNvSpPr txBox="1"/>
          <p:nvPr/>
        </p:nvSpPr>
        <p:spPr>
          <a:xfrm>
            <a:off x="395419" y="4192779"/>
            <a:ext cx="271564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nzahl unter Risiko (zensiert)</a:t>
            </a:r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3A42A54D-4689-3263-6162-9AB44F88E7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014349"/>
              </p:ext>
            </p:extLst>
          </p:nvPr>
        </p:nvGraphicFramePr>
        <p:xfrm>
          <a:off x="1673223" y="4420560"/>
          <a:ext cx="4399696" cy="126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4264">
                  <a:extLst>
                    <a:ext uri="{9D8B030D-6E8A-4147-A177-3AD203B41FA5}">
                      <a16:colId xmlns:a16="http://schemas.microsoft.com/office/drawing/2014/main" val="2720059670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3558843235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642524864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400611306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3315586355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1430594064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3098826525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3997508032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2238665104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1973714109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3560075177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429688891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3354850964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302973163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4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72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8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39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3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2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6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11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7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0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8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96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90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3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87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5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86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5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59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5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31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78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7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01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0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08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597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41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0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8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4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3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4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5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0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7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5414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7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48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9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31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3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96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4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71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7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57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8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49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9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40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31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31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34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2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39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78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8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4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13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2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43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54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66594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38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3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4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4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1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4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8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4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8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4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7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4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7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4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5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6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8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9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0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1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5479063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0DABC8BC-08B6-57D0-0487-1ED3529D7237}"/>
              </a:ext>
            </a:extLst>
          </p:cNvPr>
          <p:cNvSpPr txBox="1"/>
          <p:nvPr/>
        </p:nvSpPr>
        <p:spPr>
          <a:xfrm>
            <a:off x="374080" y="4401379"/>
            <a:ext cx="123300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</a:rPr>
              <a:t>Placebo</a:t>
            </a:r>
            <a:r>
              <a:rPr lang="de-DE" sz="8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/>
              </a:rPr>
              <a:t> 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</a:rPr>
              <a:t>+ </a:t>
            </a:r>
            <a:r>
              <a:rPr kumimoji="0" lang="de-DE" sz="8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</a:rPr>
              <a:t>ctDNA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</a:rPr>
              <a:t> nicht detektierbar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A7A5C73-4589-5C97-98F8-73EC8801D688}"/>
              </a:ext>
            </a:extLst>
          </p:cNvPr>
          <p:cNvSpPr txBox="1"/>
          <p:nvPr/>
        </p:nvSpPr>
        <p:spPr>
          <a:xfrm>
            <a:off x="373543" y="4725952"/>
            <a:ext cx="102358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</a:rPr>
              <a:t>Placebo + </a:t>
            </a:r>
            <a:r>
              <a:rPr kumimoji="0" lang="de-DE" sz="8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</a:rPr>
              <a:t>ctDNA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</a:rPr>
              <a:t> detektierba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E17924E-CC21-3325-F92B-B5F7CB37A286}"/>
              </a:ext>
            </a:extLst>
          </p:cNvPr>
          <p:cNvSpPr txBox="1"/>
          <p:nvPr/>
        </p:nvSpPr>
        <p:spPr>
          <a:xfrm>
            <a:off x="374080" y="5037792"/>
            <a:ext cx="14896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de-DE" sz="800" b="1" dirty="0">
                <a:solidFill>
                  <a:schemeClr val="accent6"/>
                </a:solidFill>
                <a:latin typeface="Arial" panose="020B0604020202020204"/>
              </a:rPr>
              <a:t>Kombinationstherapie</a:t>
            </a:r>
            <a:b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</a:rPr>
            </a:b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</a:rPr>
              <a:t>+ </a:t>
            </a:r>
            <a:r>
              <a:rPr kumimoji="0" lang="de-DE" sz="8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</a:rPr>
              <a:t>ctDNA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</a:rPr>
              <a:t> nicht detektierbar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239E50B-7407-532D-964D-FA49A7078FFC}"/>
              </a:ext>
            </a:extLst>
          </p:cNvPr>
          <p:cNvSpPr txBox="1"/>
          <p:nvPr/>
        </p:nvSpPr>
        <p:spPr>
          <a:xfrm>
            <a:off x="374080" y="5343786"/>
            <a:ext cx="14896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de-DE" sz="800" b="1" dirty="0">
                <a:solidFill>
                  <a:schemeClr val="accent2"/>
                </a:solidFill>
              </a:rPr>
              <a:t>Kombinationstherapie</a:t>
            </a:r>
            <a:b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</a:b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+ </a:t>
            </a:r>
            <a:r>
              <a:rPr kumimoji="0" lang="de-DE" sz="8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ctDNA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 detektierbar</a:t>
            </a:r>
          </a:p>
        </p:txBody>
      </p:sp>
      <p:graphicFrame>
        <p:nvGraphicFramePr>
          <p:cNvPr id="15" name="Diagramm 14">
            <a:extLst>
              <a:ext uri="{FF2B5EF4-FFF2-40B4-BE49-F238E27FC236}">
                <a16:creationId xmlns:a16="http://schemas.microsoft.com/office/drawing/2014/main" id="{813C8F37-F9E5-88EC-C9F0-ABCDFA4939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6494694"/>
              </p:ext>
            </p:extLst>
          </p:nvPr>
        </p:nvGraphicFramePr>
        <p:xfrm>
          <a:off x="604838" y="1774472"/>
          <a:ext cx="5468081" cy="22586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ED8AF2C8-2E27-7450-CF99-1BD3A184E99D}"/>
              </a:ext>
            </a:extLst>
          </p:cNvPr>
          <p:cNvSpPr/>
          <p:nvPr/>
        </p:nvSpPr>
        <p:spPr>
          <a:xfrm>
            <a:off x="1835136" y="1879613"/>
            <a:ext cx="4036208" cy="1008723"/>
          </a:xfrm>
          <a:custGeom>
            <a:avLst/>
            <a:gdLst>
              <a:gd name="connsiteX0" fmla="*/ 0 w 4036208"/>
              <a:gd name="connsiteY0" fmla="*/ 0 h 1008723"/>
              <a:gd name="connsiteX1" fmla="*/ 1705 w 4036208"/>
              <a:gd name="connsiteY1" fmla="*/ 0 h 1008723"/>
              <a:gd name="connsiteX2" fmla="*/ 19016 w 4036208"/>
              <a:gd name="connsiteY2" fmla="*/ 0 h 1008723"/>
              <a:gd name="connsiteX3" fmla="*/ 19016 w 4036208"/>
              <a:gd name="connsiteY3" fmla="*/ 6880 h 1008723"/>
              <a:gd name="connsiteX4" fmla="*/ 34492 w 4036208"/>
              <a:gd name="connsiteY4" fmla="*/ 6880 h 1008723"/>
              <a:gd name="connsiteX5" fmla="*/ 34492 w 4036208"/>
              <a:gd name="connsiteY5" fmla="*/ 13761 h 1008723"/>
              <a:gd name="connsiteX6" fmla="*/ 49967 w 4036208"/>
              <a:gd name="connsiteY6" fmla="*/ 13761 h 1008723"/>
              <a:gd name="connsiteX7" fmla="*/ 53377 w 4036208"/>
              <a:gd name="connsiteY7" fmla="*/ 13761 h 1008723"/>
              <a:gd name="connsiteX8" fmla="*/ 58623 w 4036208"/>
              <a:gd name="connsiteY8" fmla="*/ 13761 h 1008723"/>
              <a:gd name="connsiteX9" fmla="*/ 58623 w 4036208"/>
              <a:gd name="connsiteY9" fmla="*/ 20641 h 1008723"/>
              <a:gd name="connsiteX10" fmla="*/ 70689 w 4036208"/>
              <a:gd name="connsiteY10" fmla="*/ 20641 h 1008723"/>
              <a:gd name="connsiteX11" fmla="*/ 70689 w 4036208"/>
              <a:gd name="connsiteY11" fmla="*/ 27712 h 1008723"/>
              <a:gd name="connsiteX12" fmla="*/ 77640 w 4036208"/>
              <a:gd name="connsiteY12" fmla="*/ 27712 h 1008723"/>
              <a:gd name="connsiteX13" fmla="*/ 77640 w 4036208"/>
              <a:gd name="connsiteY13" fmla="*/ 34592 h 1008723"/>
              <a:gd name="connsiteX14" fmla="*/ 79345 w 4036208"/>
              <a:gd name="connsiteY14" fmla="*/ 34592 h 1008723"/>
              <a:gd name="connsiteX15" fmla="*/ 79345 w 4036208"/>
              <a:gd name="connsiteY15" fmla="*/ 41473 h 1008723"/>
              <a:gd name="connsiteX16" fmla="*/ 93115 w 4036208"/>
              <a:gd name="connsiteY16" fmla="*/ 41473 h 1008723"/>
              <a:gd name="connsiteX17" fmla="*/ 93115 w 4036208"/>
              <a:gd name="connsiteY17" fmla="*/ 48544 h 1008723"/>
              <a:gd name="connsiteX18" fmla="*/ 96525 w 4036208"/>
              <a:gd name="connsiteY18" fmla="*/ 48544 h 1008723"/>
              <a:gd name="connsiteX19" fmla="*/ 96525 w 4036208"/>
              <a:gd name="connsiteY19" fmla="*/ 55424 h 1008723"/>
              <a:gd name="connsiteX20" fmla="*/ 98361 w 4036208"/>
              <a:gd name="connsiteY20" fmla="*/ 55424 h 1008723"/>
              <a:gd name="connsiteX21" fmla="*/ 98361 w 4036208"/>
              <a:gd name="connsiteY21" fmla="*/ 76256 h 1008723"/>
              <a:gd name="connsiteX22" fmla="*/ 99935 w 4036208"/>
              <a:gd name="connsiteY22" fmla="*/ 76256 h 1008723"/>
              <a:gd name="connsiteX23" fmla="*/ 99935 w 4036208"/>
              <a:gd name="connsiteY23" fmla="*/ 83137 h 1008723"/>
              <a:gd name="connsiteX24" fmla="*/ 106886 w 4036208"/>
              <a:gd name="connsiteY24" fmla="*/ 83137 h 1008723"/>
              <a:gd name="connsiteX25" fmla="*/ 106886 w 4036208"/>
              <a:gd name="connsiteY25" fmla="*/ 90208 h 1008723"/>
              <a:gd name="connsiteX26" fmla="*/ 113836 w 4036208"/>
              <a:gd name="connsiteY26" fmla="*/ 90208 h 1008723"/>
              <a:gd name="connsiteX27" fmla="*/ 113836 w 4036208"/>
              <a:gd name="connsiteY27" fmla="*/ 97088 h 1008723"/>
              <a:gd name="connsiteX28" fmla="*/ 125902 w 4036208"/>
              <a:gd name="connsiteY28" fmla="*/ 97088 h 1008723"/>
              <a:gd name="connsiteX29" fmla="*/ 125902 w 4036208"/>
              <a:gd name="connsiteY29" fmla="*/ 104160 h 1008723"/>
              <a:gd name="connsiteX30" fmla="*/ 127607 w 4036208"/>
              <a:gd name="connsiteY30" fmla="*/ 104160 h 1008723"/>
              <a:gd name="connsiteX31" fmla="*/ 127607 w 4036208"/>
              <a:gd name="connsiteY31" fmla="*/ 111040 h 1008723"/>
              <a:gd name="connsiteX32" fmla="*/ 132722 w 4036208"/>
              <a:gd name="connsiteY32" fmla="*/ 111040 h 1008723"/>
              <a:gd name="connsiteX33" fmla="*/ 132722 w 4036208"/>
              <a:gd name="connsiteY33" fmla="*/ 118111 h 1008723"/>
              <a:gd name="connsiteX34" fmla="*/ 134558 w 4036208"/>
              <a:gd name="connsiteY34" fmla="*/ 118111 h 1008723"/>
              <a:gd name="connsiteX35" fmla="*/ 134558 w 4036208"/>
              <a:gd name="connsiteY35" fmla="*/ 132063 h 1008723"/>
              <a:gd name="connsiteX36" fmla="*/ 139673 w 4036208"/>
              <a:gd name="connsiteY36" fmla="*/ 132063 h 1008723"/>
              <a:gd name="connsiteX37" fmla="*/ 139673 w 4036208"/>
              <a:gd name="connsiteY37" fmla="*/ 138943 h 1008723"/>
              <a:gd name="connsiteX38" fmla="*/ 141509 w 4036208"/>
              <a:gd name="connsiteY38" fmla="*/ 138943 h 1008723"/>
              <a:gd name="connsiteX39" fmla="*/ 141509 w 4036208"/>
              <a:gd name="connsiteY39" fmla="*/ 146015 h 1008723"/>
              <a:gd name="connsiteX40" fmla="*/ 143082 w 4036208"/>
              <a:gd name="connsiteY40" fmla="*/ 146015 h 1008723"/>
              <a:gd name="connsiteX41" fmla="*/ 143082 w 4036208"/>
              <a:gd name="connsiteY41" fmla="*/ 152895 h 1008723"/>
              <a:gd name="connsiteX42" fmla="*/ 144918 w 4036208"/>
              <a:gd name="connsiteY42" fmla="*/ 152895 h 1008723"/>
              <a:gd name="connsiteX43" fmla="*/ 144918 w 4036208"/>
              <a:gd name="connsiteY43" fmla="*/ 159966 h 1008723"/>
              <a:gd name="connsiteX44" fmla="*/ 146623 w 4036208"/>
              <a:gd name="connsiteY44" fmla="*/ 159966 h 1008723"/>
              <a:gd name="connsiteX45" fmla="*/ 146623 w 4036208"/>
              <a:gd name="connsiteY45" fmla="*/ 208701 h 1008723"/>
              <a:gd name="connsiteX46" fmla="*/ 148328 w 4036208"/>
              <a:gd name="connsiteY46" fmla="*/ 208701 h 1008723"/>
              <a:gd name="connsiteX47" fmla="*/ 148328 w 4036208"/>
              <a:gd name="connsiteY47" fmla="*/ 215582 h 1008723"/>
              <a:gd name="connsiteX48" fmla="*/ 150033 w 4036208"/>
              <a:gd name="connsiteY48" fmla="*/ 215582 h 1008723"/>
              <a:gd name="connsiteX49" fmla="*/ 150033 w 4036208"/>
              <a:gd name="connsiteY49" fmla="*/ 236605 h 1008723"/>
              <a:gd name="connsiteX50" fmla="*/ 158689 w 4036208"/>
              <a:gd name="connsiteY50" fmla="*/ 236605 h 1008723"/>
              <a:gd name="connsiteX51" fmla="*/ 158689 w 4036208"/>
              <a:gd name="connsiteY51" fmla="*/ 257437 h 1008723"/>
              <a:gd name="connsiteX52" fmla="*/ 174164 w 4036208"/>
              <a:gd name="connsiteY52" fmla="*/ 257437 h 1008723"/>
              <a:gd name="connsiteX53" fmla="*/ 174164 w 4036208"/>
              <a:gd name="connsiteY53" fmla="*/ 264508 h 1008723"/>
              <a:gd name="connsiteX54" fmla="*/ 194886 w 4036208"/>
              <a:gd name="connsiteY54" fmla="*/ 264508 h 1008723"/>
              <a:gd name="connsiteX55" fmla="*/ 194886 w 4036208"/>
              <a:gd name="connsiteY55" fmla="*/ 271388 h 1008723"/>
              <a:gd name="connsiteX56" fmla="*/ 196591 w 4036208"/>
              <a:gd name="connsiteY56" fmla="*/ 271388 h 1008723"/>
              <a:gd name="connsiteX57" fmla="*/ 196591 w 4036208"/>
              <a:gd name="connsiteY57" fmla="*/ 278460 h 1008723"/>
              <a:gd name="connsiteX58" fmla="*/ 200132 w 4036208"/>
              <a:gd name="connsiteY58" fmla="*/ 278460 h 1008723"/>
              <a:gd name="connsiteX59" fmla="*/ 200132 w 4036208"/>
              <a:gd name="connsiteY59" fmla="*/ 285340 h 1008723"/>
              <a:gd name="connsiteX60" fmla="*/ 215607 w 4036208"/>
              <a:gd name="connsiteY60" fmla="*/ 285340 h 1008723"/>
              <a:gd name="connsiteX61" fmla="*/ 215607 w 4036208"/>
              <a:gd name="connsiteY61" fmla="*/ 292411 h 1008723"/>
              <a:gd name="connsiteX62" fmla="*/ 220853 w 4036208"/>
              <a:gd name="connsiteY62" fmla="*/ 292411 h 1008723"/>
              <a:gd name="connsiteX63" fmla="*/ 220853 w 4036208"/>
              <a:gd name="connsiteY63" fmla="*/ 299292 h 1008723"/>
              <a:gd name="connsiteX64" fmla="*/ 229378 w 4036208"/>
              <a:gd name="connsiteY64" fmla="*/ 299292 h 1008723"/>
              <a:gd name="connsiteX65" fmla="*/ 229378 w 4036208"/>
              <a:gd name="connsiteY65" fmla="*/ 306363 h 1008723"/>
              <a:gd name="connsiteX66" fmla="*/ 237902 w 4036208"/>
              <a:gd name="connsiteY66" fmla="*/ 306363 h 1008723"/>
              <a:gd name="connsiteX67" fmla="*/ 237902 w 4036208"/>
              <a:gd name="connsiteY67" fmla="*/ 313243 h 1008723"/>
              <a:gd name="connsiteX68" fmla="*/ 262165 w 4036208"/>
              <a:gd name="connsiteY68" fmla="*/ 313243 h 1008723"/>
              <a:gd name="connsiteX69" fmla="*/ 262165 w 4036208"/>
              <a:gd name="connsiteY69" fmla="*/ 320315 h 1008723"/>
              <a:gd name="connsiteX70" fmla="*/ 272525 w 4036208"/>
              <a:gd name="connsiteY70" fmla="*/ 320315 h 1008723"/>
              <a:gd name="connsiteX71" fmla="*/ 272525 w 4036208"/>
              <a:gd name="connsiteY71" fmla="*/ 327195 h 1008723"/>
              <a:gd name="connsiteX72" fmla="*/ 282886 w 4036208"/>
              <a:gd name="connsiteY72" fmla="*/ 327195 h 1008723"/>
              <a:gd name="connsiteX73" fmla="*/ 282886 w 4036208"/>
              <a:gd name="connsiteY73" fmla="*/ 334266 h 1008723"/>
              <a:gd name="connsiteX74" fmla="*/ 284591 w 4036208"/>
              <a:gd name="connsiteY74" fmla="*/ 334266 h 1008723"/>
              <a:gd name="connsiteX75" fmla="*/ 284591 w 4036208"/>
              <a:gd name="connsiteY75" fmla="*/ 341147 h 1008723"/>
              <a:gd name="connsiteX76" fmla="*/ 288001 w 4036208"/>
              <a:gd name="connsiteY76" fmla="*/ 341147 h 1008723"/>
              <a:gd name="connsiteX77" fmla="*/ 288001 w 4036208"/>
              <a:gd name="connsiteY77" fmla="*/ 355289 h 1008723"/>
              <a:gd name="connsiteX78" fmla="*/ 289837 w 4036208"/>
              <a:gd name="connsiteY78" fmla="*/ 355289 h 1008723"/>
              <a:gd name="connsiteX79" fmla="*/ 289837 w 4036208"/>
              <a:gd name="connsiteY79" fmla="*/ 383384 h 1008723"/>
              <a:gd name="connsiteX80" fmla="*/ 291411 w 4036208"/>
              <a:gd name="connsiteY80" fmla="*/ 383384 h 1008723"/>
              <a:gd name="connsiteX81" fmla="*/ 291411 w 4036208"/>
              <a:gd name="connsiteY81" fmla="*/ 418741 h 1008723"/>
              <a:gd name="connsiteX82" fmla="*/ 293247 w 4036208"/>
              <a:gd name="connsiteY82" fmla="*/ 418741 h 1008723"/>
              <a:gd name="connsiteX83" fmla="*/ 293247 w 4036208"/>
              <a:gd name="connsiteY83" fmla="*/ 425812 h 1008723"/>
              <a:gd name="connsiteX84" fmla="*/ 298362 w 4036208"/>
              <a:gd name="connsiteY84" fmla="*/ 425812 h 1008723"/>
              <a:gd name="connsiteX85" fmla="*/ 298362 w 4036208"/>
              <a:gd name="connsiteY85" fmla="*/ 432692 h 1008723"/>
              <a:gd name="connsiteX86" fmla="*/ 301771 w 4036208"/>
              <a:gd name="connsiteY86" fmla="*/ 432692 h 1008723"/>
              <a:gd name="connsiteX87" fmla="*/ 301771 w 4036208"/>
              <a:gd name="connsiteY87" fmla="*/ 439764 h 1008723"/>
              <a:gd name="connsiteX88" fmla="*/ 308722 w 4036208"/>
              <a:gd name="connsiteY88" fmla="*/ 439764 h 1008723"/>
              <a:gd name="connsiteX89" fmla="*/ 308722 w 4036208"/>
              <a:gd name="connsiteY89" fmla="*/ 446835 h 1008723"/>
              <a:gd name="connsiteX90" fmla="*/ 313837 w 4036208"/>
              <a:gd name="connsiteY90" fmla="*/ 446835 h 1008723"/>
              <a:gd name="connsiteX91" fmla="*/ 313837 w 4036208"/>
              <a:gd name="connsiteY91" fmla="*/ 453907 h 1008723"/>
              <a:gd name="connsiteX92" fmla="*/ 339804 w 4036208"/>
              <a:gd name="connsiteY92" fmla="*/ 453907 h 1008723"/>
              <a:gd name="connsiteX93" fmla="*/ 339804 w 4036208"/>
              <a:gd name="connsiteY93" fmla="*/ 460978 h 1008723"/>
              <a:gd name="connsiteX94" fmla="*/ 350034 w 4036208"/>
              <a:gd name="connsiteY94" fmla="*/ 460978 h 1008723"/>
              <a:gd name="connsiteX95" fmla="*/ 350034 w 4036208"/>
              <a:gd name="connsiteY95" fmla="*/ 468049 h 1008723"/>
              <a:gd name="connsiteX96" fmla="*/ 355280 w 4036208"/>
              <a:gd name="connsiteY96" fmla="*/ 468049 h 1008723"/>
              <a:gd name="connsiteX97" fmla="*/ 355280 w 4036208"/>
              <a:gd name="connsiteY97" fmla="*/ 475121 h 1008723"/>
              <a:gd name="connsiteX98" fmla="*/ 370755 w 4036208"/>
              <a:gd name="connsiteY98" fmla="*/ 475121 h 1008723"/>
              <a:gd name="connsiteX99" fmla="*/ 370755 w 4036208"/>
              <a:gd name="connsiteY99" fmla="*/ 482192 h 1008723"/>
              <a:gd name="connsiteX100" fmla="*/ 384657 w 4036208"/>
              <a:gd name="connsiteY100" fmla="*/ 482192 h 1008723"/>
              <a:gd name="connsiteX101" fmla="*/ 384657 w 4036208"/>
              <a:gd name="connsiteY101" fmla="*/ 489264 h 1008723"/>
              <a:gd name="connsiteX102" fmla="*/ 386362 w 4036208"/>
              <a:gd name="connsiteY102" fmla="*/ 489264 h 1008723"/>
              <a:gd name="connsiteX103" fmla="*/ 386362 w 4036208"/>
              <a:gd name="connsiteY103" fmla="*/ 496335 h 1008723"/>
              <a:gd name="connsiteX104" fmla="*/ 388067 w 4036208"/>
              <a:gd name="connsiteY104" fmla="*/ 496335 h 1008723"/>
              <a:gd name="connsiteX105" fmla="*/ 388067 w 4036208"/>
              <a:gd name="connsiteY105" fmla="*/ 503406 h 1008723"/>
              <a:gd name="connsiteX106" fmla="*/ 389772 w 4036208"/>
              <a:gd name="connsiteY106" fmla="*/ 503406 h 1008723"/>
              <a:gd name="connsiteX107" fmla="*/ 389772 w 4036208"/>
              <a:gd name="connsiteY107" fmla="*/ 510478 h 1008723"/>
              <a:gd name="connsiteX108" fmla="*/ 410493 w 4036208"/>
              <a:gd name="connsiteY108" fmla="*/ 510478 h 1008723"/>
              <a:gd name="connsiteX109" fmla="*/ 410493 w 4036208"/>
              <a:gd name="connsiteY109" fmla="*/ 517740 h 1008723"/>
              <a:gd name="connsiteX110" fmla="*/ 434624 w 4036208"/>
              <a:gd name="connsiteY110" fmla="*/ 517740 h 1008723"/>
              <a:gd name="connsiteX111" fmla="*/ 434624 w 4036208"/>
              <a:gd name="connsiteY111" fmla="*/ 531883 h 1008723"/>
              <a:gd name="connsiteX112" fmla="*/ 436329 w 4036208"/>
              <a:gd name="connsiteY112" fmla="*/ 531883 h 1008723"/>
              <a:gd name="connsiteX113" fmla="*/ 436329 w 4036208"/>
              <a:gd name="connsiteY113" fmla="*/ 546026 h 1008723"/>
              <a:gd name="connsiteX114" fmla="*/ 451936 w 4036208"/>
              <a:gd name="connsiteY114" fmla="*/ 546026 h 1008723"/>
              <a:gd name="connsiteX115" fmla="*/ 451936 w 4036208"/>
              <a:gd name="connsiteY115" fmla="*/ 553097 h 1008723"/>
              <a:gd name="connsiteX116" fmla="*/ 455346 w 4036208"/>
              <a:gd name="connsiteY116" fmla="*/ 553097 h 1008723"/>
              <a:gd name="connsiteX117" fmla="*/ 455346 w 4036208"/>
              <a:gd name="connsiteY117" fmla="*/ 560169 h 1008723"/>
              <a:gd name="connsiteX118" fmla="*/ 481313 w 4036208"/>
              <a:gd name="connsiteY118" fmla="*/ 560169 h 1008723"/>
              <a:gd name="connsiteX119" fmla="*/ 481313 w 4036208"/>
              <a:gd name="connsiteY119" fmla="*/ 567240 h 1008723"/>
              <a:gd name="connsiteX120" fmla="*/ 488133 w 4036208"/>
              <a:gd name="connsiteY120" fmla="*/ 567240 h 1008723"/>
              <a:gd name="connsiteX121" fmla="*/ 488133 w 4036208"/>
              <a:gd name="connsiteY121" fmla="*/ 574311 h 1008723"/>
              <a:gd name="connsiteX122" fmla="*/ 493247 w 4036208"/>
              <a:gd name="connsiteY122" fmla="*/ 574311 h 1008723"/>
              <a:gd name="connsiteX123" fmla="*/ 508723 w 4036208"/>
              <a:gd name="connsiteY123" fmla="*/ 574311 h 1008723"/>
              <a:gd name="connsiteX124" fmla="*/ 557116 w 4036208"/>
              <a:gd name="connsiteY124" fmla="*/ 574311 h 1008723"/>
              <a:gd name="connsiteX125" fmla="*/ 565772 w 4036208"/>
              <a:gd name="connsiteY125" fmla="*/ 574311 h 1008723"/>
              <a:gd name="connsiteX126" fmla="*/ 565772 w 4036208"/>
              <a:gd name="connsiteY126" fmla="*/ 581574 h 1008723"/>
              <a:gd name="connsiteX127" fmla="*/ 574297 w 4036208"/>
              <a:gd name="connsiteY127" fmla="*/ 581574 h 1008723"/>
              <a:gd name="connsiteX128" fmla="*/ 574297 w 4036208"/>
              <a:gd name="connsiteY128" fmla="*/ 588836 h 1008723"/>
              <a:gd name="connsiteX129" fmla="*/ 576133 w 4036208"/>
              <a:gd name="connsiteY129" fmla="*/ 588836 h 1008723"/>
              <a:gd name="connsiteX130" fmla="*/ 576133 w 4036208"/>
              <a:gd name="connsiteY130" fmla="*/ 595908 h 1008723"/>
              <a:gd name="connsiteX131" fmla="*/ 577707 w 4036208"/>
              <a:gd name="connsiteY131" fmla="*/ 595908 h 1008723"/>
              <a:gd name="connsiteX132" fmla="*/ 577707 w 4036208"/>
              <a:gd name="connsiteY132" fmla="*/ 610433 h 1008723"/>
              <a:gd name="connsiteX133" fmla="*/ 579543 w 4036208"/>
              <a:gd name="connsiteY133" fmla="*/ 610433 h 1008723"/>
              <a:gd name="connsiteX134" fmla="*/ 579543 w 4036208"/>
              <a:gd name="connsiteY134" fmla="*/ 617695 h 1008723"/>
              <a:gd name="connsiteX135" fmla="*/ 581248 w 4036208"/>
              <a:gd name="connsiteY135" fmla="*/ 617695 h 1008723"/>
              <a:gd name="connsiteX136" fmla="*/ 581248 w 4036208"/>
              <a:gd name="connsiteY136" fmla="*/ 632029 h 1008723"/>
              <a:gd name="connsiteX137" fmla="*/ 582953 w 4036208"/>
              <a:gd name="connsiteY137" fmla="*/ 632029 h 1008723"/>
              <a:gd name="connsiteX138" fmla="*/ 591608 w 4036208"/>
              <a:gd name="connsiteY138" fmla="*/ 632029 h 1008723"/>
              <a:gd name="connsiteX139" fmla="*/ 591608 w 4036208"/>
              <a:gd name="connsiteY139" fmla="*/ 639483 h 1008723"/>
              <a:gd name="connsiteX140" fmla="*/ 601969 w 4036208"/>
              <a:gd name="connsiteY140" fmla="*/ 639483 h 1008723"/>
              <a:gd name="connsiteX141" fmla="*/ 601969 w 4036208"/>
              <a:gd name="connsiteY141" fmla="*/ 646745 h 1008723"/>
              <a:gd name="connsiteX142" fmla="*/ 608920 w 4036208"/>
              <a:gd name="connsiteY142" fmla="*/ 646745 h 1008723"/>
              <a:gd name="connsiteX143" fmla="*/ 608920 w 4036208"/>
              <a:gd name="connsiteY143" fmla="*/ 654008 h 1008723"/>
              <a:gd name="connsiteX144" fmla="*/ 620854 w 4036208"/>
              <a:gd name="connsiteY144" fmla="*/ 654008 h 1008723"/>
              <a:gd name="connsiteX145" fmla="*/ 631215 w 4036208"/>
              <a:gd name="connsiteY145" fmla="*/ 654008 h 1008723"/>
              <a:gd name="connsiteX146" fmla="*/ 631215 w 4036208"/>
              <a:gd name="connsiteY146" fmla="*/ 661270 h 1008723"/>
              <a:gd name="connsiteX147" fmla="*/ 641576 w 4036208"/>
              <a:gd name="connsiteY147" fmla="*/ 661270 h 1008723"/>
              <a:gd name="connsiteX148" fmla="*/ 641576 w 4036208"/>
              <a:gd name="connsiteY148" fmla="*/ 668724 h 1008723"/>
              <a:gd name="connsiteX149" fmla="*/ 650232 w 4036208"/>
              <a:gd name="connsiteY149" fmla="*/ 668724 h 1008723"/>
              <a:gd name="connsiteX150" fmla="*/ 665838 w 4036208"/>
              <a:gd name="connsiteY150" fmla="*/ 668724 h 1008723"/>
              <a:gd name="connsiteX151" fmla="*/ 665838 w 4036208"/>
              <a:gd name="connsiteY151" fmla="*/ 675986 h 1008723"/>
              <a:gd name="connsiteX152" fmla="*/ 677904 w 4036208"/>
              <a:gd name="connsiteY152" fmla="*/ 675986 h 1008723"/>
              <a:gd name="connsiteX153" fmla="*/ 677904 w 4036208"/>
              <a:gd name="connsiteY153" fmla="*/ 683440 h 1008723"/>
              <a:gd name="connsiteX154" fmla="*/ 708986 w 4036208"/>
              <a:gd name="connsiteY154" fmla="*/ 683440 h 1008723"/>
              <a:gd name="connsiteX155" fmla="*/ 708986 w 4036208"/>
              <a:gd name="connsiteY155" fmla="*/ 690703 h 1008723"/>
              <a:gd name="connsiteX156" fmla="*/ 722625 w 4036208"/>
              <a:gd name="connsiteY156" fmla="*/ 690703 h 1008723"/>
              <a:gd name="connsiteX157" fmla="*/ 722625 w 4036208"/>
              <a:gd name="connsiteY157" fmla="*/ 698156 h 1008723"/>
              <a:gd name="connsiteX158" fmla="*/ 726035 w 4036208"/>
              <a:gd name="connsiteY158" fmla="*/ 698156 h 1008723"/>
              <a:gd name="connsiteX159" fmla="*/ 726035 w 4036208"/>
              <a:gd name="connsiteY159" fmla="*/ 705610 h 1008723"/>
              <a:gd name="connsiteX160" fmla="*/ 727871 w 4036208"/>
              <a:gd name="connsiteY160" fmla="*/ 705610 h 1008723"/>
              <a:gd name="connsiteX161" fmla="*/ 743347 w 4036208"/>
              <a:gd name="connsiteY161" fmla="*/ 705610 h 1008723"/>
              <a:gd name="connsiteX162" fmla="*/ 743347 w 4036208"/>
              <a:gd name="connsiteY162" fmla="*/ 713063 h 1008723"/>
              <a:gd name="connsiteX163" fmla="*/ 858888 w 4036208"/>
              <a:gd name="connsiteY163" fmla="*/ 713063 h 1008723"/>
              <a:gd name="connsiteX164" fmla="*/ 858888 w 4036208"/>
              <a:gd name="connsiteY164" fmla="*/ 720326 h 1008723"/>
              <a:gd name="connsiteX165" fmla="*/ 877904 w 4036208"/>
              <a:gd name="connsiteY165" fmla="*/ 720326 h 1008723"/>
              <a:gd name="connsiteX166" fmla="*/ 888265 w 4036208"/>
              <a:gd name="connsiteY166" fmla="*/ 720326 h 1008723"/>
              <a:gd name="connsiteX167" fmla="*/ 888265 w 4036208"/>
              <a:gd name="connsiteY167" fmla="*/ 727971 h 1008723"/>
              <a:gd name="connsiteX168" fmla="*/ 893511 w 4036208"/>
              <a:gd name="connsiteY168" fmla="*/ 727971 h 1008723"/>
              <a:gd name="connsiteX169" fmla="*/ 893511 w 4036208"/>
              <a:gd name="connsiteY169" fmla="*/ 735424 h 1008723"/>
              <a:gd name="connsiteX170" fmla="*/ 907150 w 4036208"/>
              <a:gd name="connsiteY170" fmla="*/ 735424 h 1008723"/>
              <a:gd name="connsiteX171" fmla="*/ 907150 w 4036208"/>
              <a:gd name="connsiteY171" fmla="*/ 742878 h 1008723"/>
              <a:gd name="connsiteX172" fmla="*/ 912396 w 4036208"/>
              <a:gd name="connsiteY172" fmla="*/ 742878 h 1008723"/>
              <a:gd name="connsiteX173" fmla="*/ 912396 w 4036208"/>
              <a:gd name="connsiteY173" fmla="*/ 750523 h 1008723"/>
              <a:gd name="connsiteX174" fmla="*/ 955544 w 4036208"/>
              <a:gd name="connsiteY174" fmla="*/ 750523 h 1008723"/>
              <a:gd name="connsiteX175" fmla="*/ 955544 w 4036208"/>
              <a:gd name="connsiteY175" fmla="*/ 757976 h 1008723"/>
              <a:gd name="connsiteX176" fmla="*/ 1007216 w 4036208"/>
              <a:gd name="connsiteY176" fmla="*/ 757976 h 1008723"/>
              <a:gd name="connsiteX177" fmla="*/ 1007216 w 4036208"/>
              <a:gd name="connsiteY177" fmla="*/ 765430 h 1008723"/>
              <a:gd name="connsiteX178" fmla="*/ 1026233 w 4036208"/>
              <a:gd name="connsiteY178" fmla="*/ 765430 h 1008723"/>
              <a:gd name="connsiteX179" fmla="*/ 1026233 w 4036208"/>
              <a:gd name="connsiteY179" fmla="*/ 772884 h 1008723"/>
              <a:gd name="connsiteX180" fmla="*/ 1028069 w 4036208"/>
              <a:gd name="connsiteY180" fmla="*/ 772884 h 1008723"/>
              <a:gd name="connsiteX181" fmla="*/ 1028069 w 4036208"/>
              <a:gd name="connsiteY181" fmla="*/ 780337 h 1008723"/>
              <a:gd name="connsiteX182" fmla="*/ 1057315 w 4036208"/>
              <a:gd name="connsiteY182" fmla="*/ 780337 h 1008723"/>
              <a:gd name="connsiteX183" fmla="*/ 1057315 w 4036208"/>
              <a:gd name="connsiteY183" fmla="*/ 787982 h 1008723"/>
              <a:gd name="connsiteX184" fmla="*/ 1060725 w 4036208"/>
              <a:gd name="connsiteY184" fmla="*/ 787982 h 1008723"/>
              <a:gd name="connsiteX185" fmla="*/ 1060725 w 4036208"/>
              <a:gd name="connsiteY185" fmla="*/ 795436 h 1008723"/>
              <a:gd name="connsiteX186" fmla="*/ 1103872 w 4036208"/>
              <a:gd name="connsiteY186" fmla="*/ 795436 h 1008723"/>
              <a:gd name="connsiteX187" fmla="*/ 1103872 w 4036208"/>
              <a:gd name="connsiteY187" fmla="*/ 802889 h 1008723"/>
              <a:gd name="connsiteX188" fmla="*/ 1159086 w 4036208"/>
              <a:gd name="connsiteY188" fmla="*/ 802889 h 1008723"/>
              <a:gd name="connsiteX189" fmla="*/ 1159086 w 4036208"/>
              <a:gd name="connsiteY189" fmla="*/ 810343 h 1008723"/>
              <a:gd name="connsiteX190" fmla="*/ 1172856 w 4036208"/>
              <a:gd name="connsiteY190" fmla="*/ 810343 h 1008723"/>
              <a:gd name="connsiteX191" fmla="*/ 1172856 w 4036208"/>
              <a:gd name="connsiteY191" fmla="*/ 817988 h 1008723"/>
              <a:gd name="connsiteX192" fmla="*/ 1179807 w 4036208"/>
              <a:gd name="connsiteY192" fmla="*/ 817988 h 1008723"/>
              <a:gd name="connsiteX193" fmla="*/ 1179807 w 4036208"/>
              <a:gd name="connsiteY193" fmla="*/ 825441 h 1008723"/>
              <a:gd name="connsiteX194" fmla="*/ 1184922 w 4036208"/>
              <a:gd name="connsiteY194" fmla="*/ 825441 h 1008723"/>
              <a:gd name="connsiteX195" fmla="*/ 1241840 w 4036208"/>
              <a:gd name="connsiteY195" fmla="*/ 825441 h 1008723"/>
              <a:gd name="connsiteX196" fmla="*/ 1241840 w 4036208"/>
              <a:gd name="connsiteY196" fmla="*/ 832895 h 1008723"/>
              <a:gd name="connsiteX197" fmla="*/ 1281578 w 4036208"/>
              <a:gd name="connsiteY197" fmla="*/ 832895 h 1008723"/>
              <a:gd name="connsiteX198" fmla="*/ 1281578 w 4036208"/>
              <a:gd name="connsiteY198" fmla="*/ 840539 h 1008723"/>
              <a:gd name="connsiteX199" fmla="*/ 1466103 w 4036208"/>
              <a:gd name="connsiteY199" fmla="*/ 840539 h 1008723"/>
              <a:gd name="connsiteX200" fmla="*/ 1466103 w 4036208"/>
              <a:gd name="connsiteY200" fmla="*/ 847993 h 1008723"/>
              <a:gd name="connsiteX201" fmla="*/ 1481578 w 4036208"/>
              <a:gd name="connsiteY201" fmla="*/ 847993 h 1008723"/>
              <a:gd name="connsiteX202" fmla="*/ 1490234 w 4036208"/>
              <a:gd name="connsiteY202" fmla="*/ 847993 h 1008723"/>
              <a:gd name="connsiteX203" fmla="*/ 1490234 w 4036208"/>
              <a:gd name="connsiteY203" fmla="*/ 855829 h 1008723"/>
              <a:gd name="connsiteX204" fmla="*/ 1491939 w 4036208"/>
              <a:gd name="connsiteY204" fmla="*/ 855829 h 1008723"/>
              <a:gd name="connsiteX205" fmla="*/ 1491939 w 4036208"/>
              <a:gd name="connsiteY205" fmla="*/ 863474 h 1008723"/>
              <a:gd name="connsiteX206" fmla="*/ 1497185 w 4036208"/>
              <a:gd name="connsiteY206" fmla="*/ 863474 h 1008723"/>
              <a:gd name="connsiteX207" fmla="*/ 1497185 w 4036208"/>
              <a:gd name="connsiteY207" fmla="*/ 870927 h 1008723"/>
              <a:gd name="connsiteX208" fmla="*/ 1636857 w 4036208"/>
              <a:gd name="connsiteY208" fmla="*/ 870927 h 1008723"/>
              <a:gd name="connsiteX209" fmla="*/ 1636857 w 4036208"/>
              <a:gd name="connsiteY209" fmla="*/ 878572 h 1008723"/>
              <a:gd name="connsiteX210" fmla="*/ 1690366 w 4036208"/>
              <a:gd name="connsiteY210" fmla="*/ 878572 h 1008723"/>
              <a:gd name="connsiteX211" fmla="*/ 1690366 w 4036208"/>
              <a:gd name="connsiteY211" fmla="*/ 886217 h 1008723"/>
              <a:gd name="connsiteX212" fmla="*/ 1733514 w 4036208"/>
              <a:gd name="connsiteY212" fmla="*/ 886217 h 1008723"/>
              <a:gd name="connsiteX213" fmla="*/ 1733514 w 4036208"/>
              <a:gd name="connsiteY213" fmla="*/ 893862 h 1008723"/>
              <a:gd name="connsiteX214" fmla="*/ 1740333 w 4036208"/>
              <a:gd name="connsiteY214" fmla="*/ 893862 h 1008723"/>
              <a:gd name="connsiteX215" fmla="*/ 1740333 w 4036208"/>
              <a:gd name="connsiteY215" fmla="*/ 901506 h 1008723"/>
              <a:gd name="connsiteX216" fmla="*/ 1752399 w 4036208"/>
              <a:gd name="connsiteY216" fmla="*/ 901506 h 1008723"/>
              <a:gd name="connsiteX217" fmla="*/ 1762759 w 4036208"/>
              <a:gd name="connsiteY217" fmla="*/ 901506 h 1008723"/>
              <a:gd name="connsiteX218" fmla="*/ 1762759 w 4036208"/>
              <a:gd name="connsiteY218" fmla="*/ 909151 h 1008723"/>
              <a:gd name="connsiteX219" fmla="*/ 1792137 w 4036208"/>
              <a:gd name="connsiteY219" fmla="*/ 909151 h 1008723"/>
              <a:gd name="connsiteX220" fmla="*/ 1792137 w 4036208"/>
              <a:gd name="connsiteY220" fmla="*/ 916987 h 1008723"/>
              <a:gd name="connsiteX221" fmla="*/ 1843809 w 4036208"/>
              <a:gd name="connsiteY221" fmla="*/ 916987 h 1008723"/>
              <a:gd name="connsiteX222" fmla="*/ 1850629 w 4036208"/>
              <a:gd name="connsiteY222" fmla="*/ 916987 h 1008723"/>
              <a:gd name="connsiteX223" fmla="*/ 1850629 w 4036208"/>
              <a:gd name="connsiteY223" fmla="*/ 924823 h 1008723"/>
              <a:gd name="connsiteX224" fmla="*/ 1993842 w 4036208"/>
              <a:gd name="connsiteY224" fmla="*/ 924823 h 1008723"/>
              <a:gd name="connsiteX225" fmla="*/ 1993842 w 4036208"/>
              <a:gd name="connsiteY225" fmla="*/ 932468 h 1008723"/>
              <a:gd name="connsiteX226" fmla="*/ 2030170 w 4036208"/>
              <a:gd name="connsiteY226" fmla="*/ 932468 h 1008723"/>
              <a:gd name="connsiteX227" fmla="*/ 2042105 w 4036208"/>
              <a:gd name="connsiteY227" fmla="*/ 932468 h 1008723"/>
              <a:gd name="connsiteX228" fmla="*/ 2112924 w 4036208"/>
              <a:gd name="connsiteY228" fmla="*/ 932468 h 1008723"/>
              <a:gd name="connsiteX229" fmla="*/ 2161187 w 4036208"/>
              <a:gd name="connsiteY229" fmla="*/ 932468 h 1008723"/>
              <a:gd name="connsiteX230" fmla="*/ 2161187 w 4036208"/>
              <a:gd name="connsiteY230" fmla="*/ 940495 h 1008723"/>
              <a:gd name="connsiteX231" fmla="*/ 2168138 w 4036208"/>
              <a:gd name="connsiteY231" fmla="*/ 940495 h 1008723"/>
              <a:gd name="connsiteX232" fmla="*/ 2168138 w 4036208"/>
              <a:gd name="connsiteY232" fmla="*/ 948522 h 1008723"/>
              <a:gd name="connsiteX233" fmla="*/ 2264663 w 4036208"/>
              <a:gd name="connsiteY233" fmla="*/ 948522 h 1008723"/>
              <a:gd name="connsiteX234" fmla="*/ 2264663 w 4036208"/>
              <a:gd name="connsiteY234" fmla="*/ 956740 h 1008723"/>
              <a:gd name="connsiteX235" fmla="*/ 2378499 w 4036208"/>
              <a:gd name="connsiteY235" fmla="*/ 956740 h 1008723"/>
              <a:gd name="connsiteX236" fmla="*/ 2404466 w 4036208"/>
              <a:gd name="connsiteY236" fmla="*/ 956740 h 1008723"/>
              <a:gd name="connsiteX237" fmla="*/ 2609582 w 4036208"/>
              <a:gd name="connsiteY237" fmla="*/ 956740 h 1008723"/>
              <a:gd name="connsiteX238" fmla="*/ 2609582 w 4036208"/>
              <a:gd name="connsiteY238" fmla="*/ 964958 h 1008723"/>
              <a:gd name="connsiteX239" fmla="*/ 2852992 w 4036208"/>
              <a:gd name="connsiteY239" fmla="*/ 964958 h 1008723"/>
              <a:gd name="connsiteX240" fmla="*/ 2885648 w 4036208"/>
              <a:gd name="connsiteY240" fmla="*/ 964958 h 1008723"/>
              <a:gd name="connsiteX241" fmla="*/ 2889058 w 4036208"/>
              <a:gd name="connsiteY241" fmla="*/ 964958 h 1008723"/>
              <a:gd name="connsiteX242" fmla="*/ 2890763 w 4036208"/>
              <a:gd name="connsiteY242" fmla="*/ 964958 h 1008723"/>
              <a:gd name="connsiteX243" fmla="*/ 2899419 w 4036208"/>
              <a:gd name="connsiteY243" fmla="*/ 964958 h 1008723"/>
              <a:gd name="connsiteX244" fmla="*/ 2899419 w 4036208"/>
              <a:gd name="connsiteY244" fmla="*/ 973558 h 1008723"/>
              <a:gd name="connsiteX245" fmla="*/ 2913189 w 4036208"/>
              <a:gd name="connsiteY245" fmla="*/ 973558 h 1008723"/>
              <a:gd name="connsiteX246" fmla="*/ 2915025 w 4036208"/>
              <a:gd name="connsiteY246" fmla="*/ 973558 h 1008723"/>
              <a:gd name="connsiteX247" fmla="*/ 2923550 w 4036208"/>
              <a:gd name="connsiteY247" fmla="*/ 973558 h 1008723"/>
              <a:gd name="connsiteX248" fmla="*/ 2927091 w 4036208"/>
              <a:gd name="connsiteY248" fmla="*/ 973558 h 1008723"/>
              <a:gd name="connsiteX249" fmla="*/ 2930501 w 4036208"/>
              <a:gd name="connsiteY249" fmla="*/ 973558 h 1008723"/>
              <a:gd name="connsiteX250" fmla="*/ 2939025 w 4036208"/>
              <a:gd name="connsiteY250" fmla="*/ 973558 h 1008723"/>
              <a:gd name="connsiteX251" fmla="*/ 2940861 w 4036208"/>
              <a:gd name="connsiteY251" fmla="*/ 973558 h 1008723"/>
              <a:gd name="connsiteX252" fmla="*/ 2942566 w 4036208"/>
              <a:gd name="connsiteY252" fmla="*/ 973558 h 1008723"/>
              <a:gd name="connsiteX253" fmla="*/ 2944271 w 4036208"/>
              <a:gd name="connsiteY253" fmla="*/ 973558 h 1008723"/>
              <a:gd name="connsiteX254" fmla="*/ 2989124 w 4036208"/>
              <a:gd name="connsiteY254" fmla="*/ 973558 h 1008723"/>
              <a:gd name="connsiteX255" fmla="*/ 3047747 w 4036208"/>
              <a:gd name="connsiteY255" fmla="*/ 973558 h 1008723"/>
              <a:gd name="connsiteX256" fmla="*/ 3052993 w 4036208"/>
              <a:gd name="connsiteY256" fmla="*/ 973558 h 1008723"/>
              <a:gd name="connsiteX257" fmla="*/ 3073714 w 4036208"/>
              <a:gd name="connsiteY257" fmla="*/ 973558 h 1008723"/>
              <a:gd name="connsiteX258" fmla="*/ 3080534 w 4036208"/>
              <a:gd name="connsiteY258" fmla="*/ 973558 h 1008723"/>
              <a:gd name="connsiteX259" fmla="*/ 3089190 w 4036208"/>
              <a:gd name="connsiteY259" fmla="*/ 973558 h 1008723"/>
              <a:gd name="connsiteX260" fmla="*/ 3104665 w 4036208"/>
              <a:gd name="connsiteY260" fmla="*/ 973558 h 1008723"/>
              <a:gd name="connsiteX261" fmla="*/ 3116862 w 4036208"/>
              <a:gd name="connsiteY261" fmla="*/ 973558 h 1008723"/>
              <a:gd name="connsiteX262" fmla="*/ 3123682 w 4036208"/>
              <a:gd name="connsiteY262" fmla="*/ 973558 h 1008723"/>
              <a:gd name="connsiteX263" fmla="*/ 3134042 w 4036208"/>
              <a:gd name="connsiteY263" fmla="*/ 973558 h 1008723"/>
              <a:gd name="connsiteX264" fmla="*/ 3134042 w 4036208"/>
              <a:gd name="connsiteY264" fmla="*/ 985025 h 1008723"/>
              <a:gd name="connsiteX265" fmla="*/ 3142698 w 4036208"/>
              <a:gd name="connsiteY265" fmla="*/ 985025 h 1008723"/>
              <a:gd name="connsiteX266" fmla="*/ 3154764 w 4036208"/>
              <a:gd name="connsiteY266" fmla="*/ 985025 h 1008723"/>
              <a:gd name="connsiteX267" fmla="*/ 3177059 w 4036208"/>
              <a:gd name="connsiteY267" fmla="*/ 985025 h 1008723"/>
              <a:gd name="connsiteX268" fmla="*/ 3178895 w 4036208"/>
              <a:gd name="connsiteY268" fmla="*/ 985025 h 1008723"/>
              <a:gd name="connsiteX269" fmla="*/ 3182305 w 4036208"/>
              <a:gd name="connsiteY269" fmla="*/ 985025 h 1008723"/>
              <a:gd name="connsiteX270" fmla="*/ 3189124 w 4036208"/>
              <a:gd name="connsiteY270" fmla="*/ 985025 h 1008723"/>
              <a:gd name="connsiteX271" fmla="*/ 3190960 w 4036208"/>
              <a:gd name="connsiteY271" fmla="*/ 985025 h 1008723"/>
              <a:gd name="connsiteX272" fmla="*/ 3194370 w 4036208"/>
              <a:gd name="connsiteY272" fmla="*/ 985025 h 1008723"/>
              <a:gd name="connsiteX273" fmla="*/ 3201321 w 4036208"/>
              <a:gd name="connsiteY273" fmla="*/ 985025 h 1008723"/>
              <a:gd name="connsiteX274" fmla="*/ 3208272 w 4036208"/>
              <a:gd name="connsiteY274" fmla="*/ 985025 h 1008723"/>
              <a:gd name="connsiteX275" fmla="*/ 3237518 w 4036208"/>
              <a:gd name="connsiteY275" fmla="*/ 985025 h 1008723"/>
              <a:gd name="connsiteX276" fmla="*/ 3246043 w 4036208"/>
              <a:gd name="connsiteY276" fmla="*/ 985025 h 1008723"/>
              <a:gd name="connsiteX277" fmla="*/ 3287617 w 4036208"/>
              <a:gd name="connsiteY277" fmla="*/ 985025 h 1008723"/>
              <a:gd name="connsiteX278" fmla="*/ 3309912 w 4036208"/>
              <a:gd name="connsiteY278" fmla="*/ 985025 h 1008723"/>
              <a:gd name="connsiteX279" fmla="*/ 3316863 w 4036208"/>
              <a:gd name="connsiteY279" fmla="*/ 985025 h 1008723"/>
              <a:gd name="connsiteX280" fmla="*/ 3354764 w 4036208"/>
              <a:gd name="connsiteY280" fmla="*/ 985025 h 1008723"/>
              <a:gd name="connsiteX281" fmla="*/ 3380732 w 4036208"/>
              <a:gd name="connsiteY281" fmla="*/ 985025 h 1008723"/>
              <a:gd name="connsiteX282" fmla="*/ 3382437 w 4036208"/>
              <a:gd name="connsiteY282" fmla="*/ 985025 h 1008723"/>
              <a:gd name="connsiteX283" fmla="*/ 3384010 w 4036208"/>
              <a:gd name="connsiteY283" fmla="*/ 985025 h 1008723"/>
              <a:gd name="connsiteX284" fmla="*/ 3418633 w 4036208"/>
              <a:gd name="connsiteY284" fmla="*/ 985025 h 1008723"/>
              <a:gd name="connsiteX285" fmla="*/ 3422043 w 4036208"/>
              <a:gd name="connsiteY285" fmla="*/ 985025 h 1008723"/>
              <a:gd name="connsiteX286" fmla="*/ 3430699 w 4036208"/>
              <a:gd name="connsiteY286" fmla="*/ 985025 h 1008723"/>
              <a:gd name="connsiteX287" fmla="*/ 3437519 w 4036208"/>
              <a:gd name="connsiteY287" fmla="*/ 985025 h 1008723"/>
              <a:gd name="connsiteX288" fmla="*/ 3441060 w 4036208"/>
              <a:gd name="connsiteY288" fmla="*/ 985025 h 1008723"/>
              <a:gd name="connsiteX289" fmla="*/ 3460076 w 4036208"/>
              <a:gd name="connsiteY289" fmla="*/ 985025 h 1008723"/>
              <a:gd name="connsiteX290" fmla="*/ 3479092 w 4036208"/>
              <a:gd name="connsiteY290" fmla="*/ 985025 h 1008723"/>
              <a:gd name="connsiteX291" fmla="*/ 3480666 w 4036208"/>
              <a:gd name="connsiteY291" fmla="*/ 985025 h 1008723"/>
              <a:gd name="connsiteX292" fmla="*/ 3480666 w 4036208"/>
              <a:gd name="connsiteY292" fmla="*/ 1008724 h 1008723"/>
              <a:gd name="connsiteX293" fmla="*/ 3499683 w 4036208"/>
              <a:gd name="connsiteY293" fmla="*/ 1008724 h 1008723"/>
              <a:gd name="connsiteX294" fmla="*/ 3506502 w 4036208"/>
              <a:gd name="connsiteY294" fmla="*/ 1008724 h 1008723"/>
              <a:gd name="connsiteX295" fmla="*/ 3530765 w 4036208"/>
              <a:gd name="connsiteY295" fmla="*/ 1008724 h 1008723"/>
              <a:gd name="connsiteX296" fmla="*/ 3546240 w 4036208"/>
              <a:gd name="connsiteY296" fmla="*/ 1008724 h 1008723"/>
              <a:gd name="connsiteX297" fmla="*/ 3563552 w 4036208"/>
              <a:gd name="connsiteY297" fmla="*/ 1008724 h 1008723"/>
              <a:gd name="connsiteX298" fmla="*/ 3575486 w 4036208"/>
              <a:gd name="connsiteY298" fmla="*/ 1008724 h 1008723"/>
              <a:gd name="connsiteX299" fmla="*/ 3592798 w 4036208"/>
              <a:gd name="connsiteY299" fmla="*/ 1008724 h 1008723"/>
              <a:gd name="connsiteX300" fmla="*/ 3610110 w 4036208"/>
              <a:gd name="connsiteY300" fmla="*/ 1008724 h 1008723"/>
              <a:gd name="connsiteX301" fmla="*/ 3635945 w 4036208"/>
              <a:gd name="connsiteY301" fmla="*/ 1008724 h 1008723"/>
              <a:gd name="connsiteX302" fmla="*/ 3660077 w 4036208"/>
              <a:gd name="connsiteY302" fmla="*/ 1008724 h 1008723"/>
              <a:gd name="connsiteX303" fmla="*/ 3679093 w 4036208"/>
              <a:gd name="connsiteY303" fmla="*/ 1008724 h 1008723"/>
              <a:gd name="connsiteX304" fmla="*/ 3697978 w 4036208"/>
              <a:gd name="connsiteY304" fmla="*/ 1008724 h 1008723"/>
              <a:gd name="connsiteX305" fmla="*/ 3706766 w 4036208"/>
              <a:gd name="connsiteY305" fmla="*/ 1008724 h 1008723"/>
              <a:gd name="connsiteX306" fmla="*/ 3746372 w 4036208"/>
              <a:gd name="connsiteY306" fmla="*/ 1008724 h 1008723"/>
              <a:gd name="connsiteX307" fmla="*/ 3761847 w 4036208"/>
              <a:gd name="connsiteY307" fmla="*/ 1008724 h 1008723"/>
              <a:gd name="connsiteX308" fmla="*/ 3766962 w 4036208"/>
              <a:gd name="connsiteY308" fmla="*/ 1008724 h 1008723"/>
              <a:gd name="connsiteX309" fmla="*/ 3768798 w 4036208"/>
              <a:gd name="connsiteY309" fmla="*/ 1008724 h 1008723"/>
              <a:gd name="connsiteX310" fmla="*/ 3772208 w 4036208"/>
              <a:gd name="connsiteY310" fmla="*/ 1008724 h 1008723"/>
              <a:gd name="connsiteX311" fmla="*/ 3787684 w 4036208"/>
              <a:gd name="connsiteY311" fmla="*/ 1008724 h 1008723"/>
              <a:gd name="connsiteX312" fmla="*/ 3792929 w 4036208"/>
              <a:gd name="connsiteY312" fmla="*/ 1008724 h 1008723"/>
              <a:gd name="connsiteX313" fmla="*/ 3798044 w 4036208"/>
              <a:gd name="connsiteY313" fmla="*/ 1008724 h 1008723"/>
              <a:gd name="connsiteX314" fmla="*/ 3804995 w 4036208"/>
              <a:gd name="connsiteY314" fmla="*/ 1008724 h 1008723"/>
              <a:gd name="connsiteX315" fmla="*/ 3808405 w 4036208"/>
              <a:gd name="connsiteY315" fmla="*/ 1008724 h 1008723"/>
              <a:gd name="connsiteX316" fmla="*/ 3822307 w 4036208"/>
              <a:gd name="connsiteY316" fmla="*/ 1008724 h 1008723"/>
              <a:gd name="connsiteX317" fmla="*/ 4036209 w 4036208"/>
              <a:gd name="connsiteY317" fmla="*/ 1008724 h 1008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</a:cxnLst>
            <a:rect l="l" t="t" r="r" b="b"/>
            <a:pathLst>
              <a:path w="4036208" h="1008723">
                <a:moveTo>
                  <a:pt x="0" y="0"/>
                </a:moveTo>
                <a:lnTo>
                  <a:pt x="1705" y="0"/>
                </a:lnTo>
                <a:lnTo>
                  <a:pt x="19016" y="0"/>
                </a:lnTo>
                <a:lnTo>
                  <a:pt x="19016" y="6880"/>
                </a:lnTo>
                <a:lnTo>
                  <a:pt x="34492" y="6880"/>
                </a:lnTo>
                <a:lnTo>
                  <a:pt x="34492" y="13761"/>
                </a:lnTo>
                <a:lnTo>
                  <a:pt x="49967" y="13761"/>
                </a:lnTo>
                <a:lnTo>
                  <a:pt x="53377" y="13761"/>
                </a:lnTo>
                <a:lnTo>
                  <a:pt x="58623" y="13761"/>
                </a:lnTo>
                <a:lnTo>
                  <a:pt x="58623" y="20641"/>
                </a:lnTo>
                <a:lnTo>
                  <a:pt x="70689" y="20641"/>
                </a:lnTo>
                <a:lnTo>
                  <a:pt x="70689" y="27712"/>
                </a:lnTo>
                <a:lnTo>
                  <a:pt x="77640" y="27712"/>
                </a:lnTo>
                <a:lnTo>
                  <a:pt x="77640" y="34592"/>
                </a:lnTo>
                <a:lnTo>
                  <a:pt x="79345" y="34592"/>
                </a:lnTo>
                <a:lnTo>
                  <a:pt x="79345" y="41473"/>
                </a:lnTo>
                <a:lnTo>
                  <a:pt x="93115" y="41473"/>
                </a:lnTo>
                <a:lnTo>
                  <a:pt x="93115" y="48544"/>
                </a:lnTo>
                <a:lnTo>
                  <a:pt x="96525" y="48544"/>
                </a:lnTo>
                <a:lnTo>
                  <a:pt x="96525" y="55424"/>
                </a:lnTo>
                <a:lnTo>
                  <a:pt x="98361" y="55424"/>
                </a:lnTo>
                <a:lnTo>
                  <a:pt x="98361" y="76256"/>
                </a:lnTo>
                <a:lnTo>
                  <a:pt x="99935" y="76256"/>
                </a:lnTo>
                <a:lnTo>
                  <a:pt x="99935" y="83137"/>
                </a:lnTo>
                <a:lnTo>
                  <a:pt x="106886" y="83137"/>
                </a:lnTo>
                <a:lnTo>
                  <a:pt x="106886" y="90208"/>
                </a:lnTo>
                <a:lnTo>
                  <a:pt x="113836" y="90208"/>
                </a:lnTo>
                <a:lnTo>
                  <a:pt x="113836" y="97088"/>
                </a:lnTo>
                <a:lnTo>
                  <a:pt x="125902" y="97088"/>
                </a:lnTo>
                <a:lnTo>
                  <a:pt x="125902" y="104160"/>
                </a:lnTo>
                <a:lnTo>
                  <a:pt x="127607" y="104160"/>
                </a:lnTo>
                <a:lnTo>
                  <a:pt x="127607" y="111040"/>
                </a:lnTo>
                <a:lnTo>
                  <a:pt x="132722" y="111040"/>
                </a:lnTo>
                <a:lnTo>
                  <a:pt x="132722" y="118111"/>
                </a:lnTo>
                <a:lnTo>
                  <a:pt x="134558" y="118111"/>
                </a:lnTo>
                <a:lnTo>
                  <a:pt x="134558" y="132063"/>
                </a:lnTo>
                <a:lnTo>
                  <a:pt x="139673" y="132063"/>
                </a:lnTo>
                <a:lnTo>
                  <a:pt x="139673" y="138943"/>
                </a:lnTo>
                <a:lnTo>
                  <a:pt x="141509" y="138943"/>
                </a:lnTo>
                <a:lnTo>
                  <a:pt x="141509" y="146015"/>
                </a:lnTo>
                <a:lnTo>
                  <a:pt x="143082" y="146015"/>
                </a:lnTo>
                <a:lnTo>
                  <a:pt x="143082" y="152895"/>
                </a:lnTo>
                <a:lnTo>
                  <a:pt x="144918" y="152895"/>
                </a:lnTo>
                <a:lnTo>
                  <a:pt x="144918" y="159966"/>
                </a:lnTo>
                <a:lnTo>
                  <a:pt x="146623" y="159966"/>
                </a:lnTo>
                <a:lnTo>
                  <a:pt x="146623" y="208701"/>
                </a:lnTo>
                <a:lnTo>
                  <a:pt x="148328" y="208701"/>
                </a:lnTo>
                <a:lnTo>
                  <a:pt x="148328" y="215582"/>
                </a:lnTo>
                <a:lnTo>
                  <a:pt x="150033" y="215582"/>
                </a:lnTo>
                <a:lnTo>
                  <a:pt x="150033" y="236605"/>
                </a:lnTo>
                <a:lnTo>
                  <a:pt x="158689" y="236605"/>
                </a:lnTo>
                <a:lnTo>
                  <a:pt x="158689" y="257437"/>
                </a:lnTo>
                <a:lnTo>
                  <a:pt x="174164" y="257437"/>
                </a:lnTo>
                <a:lnTo>
                  <a:pt x="174164" y="264508"/>
                </a:lnTo>
                <a:lnTo>
                  <a:pt x="194886" y="264508"/>
                </a:lnTo>
                <a:lnTo>
                  <a:pt x="194886" y="271388"/>
                </a:lnTo>
                <a:lnTo>
                  <a:pt x="196591" y="271388"/>
                </a:lnTo>
                <a:lnTo>
                  <a:pt x="196591" y="278460"/>
                </a:lnTo>
                <a:lnTo>
                  <a:pt x="200132" y="278460"/>
                </a:lnTo>
                <a:lnTo>
                  <a:pt x="200132" y="285340"/>
                </a:lnTo>
                <a:lnTo>
                  <a:pt x="215607" y="285340"/>
                </a:lnTo>
                <a:lnTo>
                  <a:pt x="215607" y="292411"/>
                </a:lnTo>
                <a:lnTo>
                  <a:pt x="220853" y="292411"/>
                </a:lnTo>
                <a:lnTo>
                  <a:pt x="220853" y="299292"/>
                </a:lnTo>
                <a:lnTo>
                  <a:pt x="229378" y="299292"/>
                </a:lnTo>
                <a:lnTo>
                  <a:pt x="229378" y="306363"/>
                </a:lnTo>
                <a:lnTo>
                  <a:pt x="237902" y="306363"/>
                </a:lnTo>
                <a:lnTo>
                  <a:pt x="237902" y="313243"/>
                </a:lnTo>
                <a:lnTo>
                  <a:pt x="262165" y="313243"/>
                </a:lnTo>
                <a:lnTo>
                  <a:pt x="262165" y="320315"/>
                </a:lnTo>
                <a:lnTo>
                  <a:pt x="272525" y="320315"/>
                </a:lnTo>
                <a:lnTo>
                  <a:pt x="272525" y="327195"/>
                </a:lnTo>
                <a:lnTo>
                  <a:pt x="282886" y="327195"/>
                </a:lnTo>
                <a:lnTo>
                  <a:pt x="282886" y="334266"/>
                </a:lnTo>
                <a:lnTo>
                  <a:pt x="284591" y="334266"/>
                </a:lnTo>
                <a:lnTo>
                  <a:pt x="284591" y="341147"/>
                </a:lnTo>
                <a:lnTo>
                  <a:pt x="288001" y="341147"/>
                </a:lnTo>
                <a:lnTo>
                  <a:pt x="288001" y="355289"/>
                </a:lnTo>
                <a:lnTo>
                  <a:pt x="289837" y="355289"/>
                </a:lnTo>
                <a:lnTo>
                  <a:pt x="289837" y="383384"/>
                </a:lnTo>
                <a:lnTo>
                  <a:pt x="291411" y="383384"/>
                </a:lnTo>
                <a:lnTo>
                  <a:pt x="291411" y="418741"/>
                </a:lnTo>
                <a:lnTo>
                  <a:pt x="293247" y="418741"/>
                </a:lnTo>
                <a:lnTo>
                  <a:pt x="293247" y="425812"/>
                </a:lnTo>
                <a:lnTo>
                  <a:pt x="298362" y="425812"/>
                </a:lnTo>
                <a:lnTo>
                  <a:pt x="298362" y="432692"/>
                </a:lnTo>
                <a:lnTo>
                  <a:pt x="301771" y="432692"/>
                </a:lnTo>
                <a:lnTo>
                  <a:pt x="301771" y="439764"/>
                </a:lnTo>
                <a:lnTo>
                  <a:pt x="308722" y="439764"/>
                </a:lnTo>
                <a:lnTo>
                  <a:pt x="308722" y="446835"/>
                </a:lnTo>
                <a:lnTo>
                  <a:pt x="313837" y="446835"/>
                </a:lnTo>
                <a:lnTo>
                  <a:pt x="313837" y="453907"/>
                </a:lnTo>
                <a:lnTo>
                  <a:pt x="339804" y="453907"/>
                </a:lnTo>
                <a:lnTo>
                  <a:pt x="339804" y="460978"/>
                </a:lnTo>
                <a:lnTo>
                  <a:pt x="350034" y="460978"/>
                </a:lnTo>
                <a:lnTo>
                  <a:pt x="350034" y="468049"/>
                </a:lnTo>
                <a:lnTo>
                  <a:pt x="355280" y="468049"/>
                </a:lnTo>
                <a:lnTo>
                  <a:pt x="355280" y="475121"/>
                </a:lnTo>
                <a:lnTo>
                  <a:pt x="370755" y="475121"/>
                </a:lnTo>
                <a:lnTo>
                  <a:pt x="370755" y="482192"/>
                </a:lnTo>
                <a:lnTo>
                  <a:pt x="384657" y="482192"/>
                </a:lnTo>
                <a:lnTo>
                  <a:pt x="384657" y="489264"/>
                </a:lnTo>
                <a:lnTo>
                  <a:pt x="386362" y="489264"/>
                </a:lnTo>
                <a:lnTo>
                  <a:pt x="386362" y="496335"/>
                </a:lnTo>
                <a:lnTo>
                  <a:pt x="388067" y="496335"/>
                </a:lnTo>
                <a:lnTo>
                  <a:pt x="388067" y="503406"/>
                </a:lnTo>
                <a:lnTo>
                  <a:pt x="389772" y="503406"/>
                </a:lnTo>
                <a:lnTo>
                  <a:pt x="389772" y="510478"/>
                </a:lnTo>
                <a:lnTo>
                  <a:pt x="410493" y="510478"/>
                </a:lnTo>
                <a:lnTo>
                  <a:pt x="410493" y="517740"/>
                </a:lnTo>
                <a:lnTo>
                  <a:pt x="434624" y="517740"/>
                </a:lnTo>
                <a:lnTo>
                  <a:pt x="434624" y="531883"/>
                </a:lnTo>
                <a:lnTo>
                  <a:pt x="436329" y="531883"/>
                </a:lnTo>
                <a:lnTo>
                  <a:pt x="436329" y="546026"/>
                </a:lnTo>
                <a:lnTo>
                  <a:pt x="451936" y="546026"/>
                </a:lnTo>
                <a:lnTo>
                  <a:pt x="451936" y="553097"/>
                </a:lnTo>
                <a:lnTo>
                  <a:pt x="455346" y="553097"/>
                </a:lnTo>
                <a:lnTo>
                  <a:pt x="455346" y="560169"/>
                </a:lnTo>
                <a:lnTo>
                  <a:pt x="481313" y="560169"/>
                </a:lnTo>
                <a:lnTo>
                  <a:pt x="481313" y="567240"/>
                </a:lnTo>
                <a:lnTo>
                  <a:pt x="488133" y="567240"/>
                </a:lnTo>
                <a:lnTo>
                  <a:pt x="488133" y="574311"/>
                </a:lnTo>
                <a:lnTo>
                  <a:pt x="493247" y="574311"/>
                </a:lnTo>
                <a:lnTo>
                  <a:pt x="508723" y="574311"/>
                </a:lnTo>
                <a:lnTo>
                  <a:pt x="557116" y="574311"/>
                </a:lnTo>
                <a:lnTo>
                  <a:pt x="565772" y="574311"/>
                </a:lnTo>
                <a:lnTo>
                  <a:pt x="565772" y="581574"/>
                </a:lnTo>
                <a:lnTo>
                  <a:pt x="574297" y="581574"/>
                </a:lnTo>
                <a:lnTo>
                  <a:pt x="574297" y="588836"/>
                </a:lnTo>
                <a:lnTo>
                  <a:pt x="576133" y="588836"/>
                </a:lnTo>
                <a:lnTo>
                  <a:pt x="576133" y="595908"/>
                </a:lnTo>
                <a:lnTo>
                  <a:pt x="577707" y="595908"/>
                </a:lnTo>
                <a:lnTo>
                  <a:pt x="577707" y="610433"/>
                </a:lnTo>
                <a:lnTo>
                  <a:pt x="579543" y="610433"/>
                </a:lnTo>
                <a:lnTo>
                  <a:pt x="579543" y="617695"/>
                </a:lnTo>
                <a:lnTo>
                  <a:pt x="581248" y="617695"/>
                </a:lnTo>
                <a:lnTo>
                  <a:pt x="581248" y="632029"/>
                </a:lnTo>
                <a:lnTo>
                  <a:pt x="582953" y="632029"/>
                </a:lnTo>
                <a:lnTo>
                  <a:pt x="591608" y="632029"/>
                </a:lnTo>
                <a:lnTo>
                  <a:pt x="591608" y="639483"/>
                </a:lnTo>
                <a:lnTo>
                  <a:pt x="601969" y="639483"/>
                </a:lnTo>
                <a:lnTo>
                  <a:pt x="601969" y="646745"/>
                </a:lnTo>
                <a:lnTo>
                  <a:pt x="608920" y="646745"/>
                </a:lnTo>
                <a:lnTo>
                  <a:pt x="608920" y="654008"/>
                </a:lnTo>
                <a:lnTo>
                  <a:pt x="620854" y="654008"/>
                </a:lnTo>
                <a:lnTo>
                  <a:pt x="631215" y="654008"/>
                </a:lnTo>
                <a:lnTo>
                  <a:pt x="631215" y="661270"/>
                </a:lnTo>
                <a:lnTo>
                  <a:pt x="641576" y="661270"/>
                </a:lnTo>
                <a:lnTo>
                  <a:pt x="641576" y="668724"/>
                </a:lnTo>
                <a:lnTo>
                  <a:pt x="650232" y="668724"/>
                </a:lnTo>
                <a:lnTo>
                  <a:pt x="665838" y="668724"/>
                </a:lnTo>
                <a:lnTo>
                  <a:pt x="665838" y="675986"/>
                </a:lnTo>
                <a:lnTo>
                  <a:pt x="677904" y="675986"/>
                </a:lnTo>
                <a:lnTo>
                  <a:pt x="677904" y="683440"/>
                </a:lnTo>
                <a:lnTo>
                  <a:pt x="708986" y="683440"/>
                </a:lnTo>
                <a:lnTo>
                  <a:pt x="708986" y="690703"/>
                </a:lnTo>
                <a:lnTo>
                  <a:pt x="722625" y="690703"/>
                </a:lnTo>
                <a:lnTo>
                  <a:pt x="722625" y="698156"/>
                </a:lnTo>
                <a:lnTo>
                  <a:pt x="726035" y="698156"/>
                </a:lnTo>
                <a:lnTo>
                  <a:pt x="726035" y="705610"/>
                </a:lnTo>
                <a:lnTo>
                  <a:pt x="727871" y="705610"/>
                </a:lnTo>
                <a:lnTo>
                  <a:pt x="743347" y="705610"/>
                </a:lnTo>
                <a:lnTo>
                  <a:pt x="743347" y="713063"/>
                </a:lnTo>
                <a:lnTo>
                  <a:pt x="858888" y="713063"/>
                </a:lnTo>
                <a:lnTo>
                  <a:pt x="858888" y="720326"/>
                </a:lnTo>
                <a:lnTo>
                  <a:pt x="877904" y="720326"/>
                </a:lnTo>
                <a:lnTo>
                  <a:pt x="888265" y="720326"/>
                </a:lnTo>
                <a:lnTo>
                  <a:pt x="888265" y="727971"/>
                </a:lnTo>
                <a:lnTo>
                  <a:pt x="893511" y="727971"/>
                </a:lnTo>
                <a:lnTo>
                  <a:pt x="893511" y="735424"/>
                </a:lnTo>
                <a:lnTo>
                  <a:pt x="907150" y="735424"/>
                </a:lnTo>
                <a:lnTo>
                  <a:pt x="907150" y="742878"/>
                </a:lnTo>
                <a:lnTo>
                  <a:pt x="912396" y="742878"/>
                </a:lnTo>
                <a:lnTo>
                  <a:pt x="912396" y="750523"/>
                </a:lnTo>
                <a:lnTo>
                  <a:pt x="955544" y="750523"/>
                </a:lnTo>
                <a:lnTo>
                  <a:pt x="955544" y="757976"/>
                </a:lnTo>
                <a:lnTo>
                  <a:pt x="1007216" y="757976"/>
                </a:lnTo>
                <a:lnTo>
                  <a:pt x="1007216" y="765430"/>
                </a:lnTo>
                <a:lnTo>
                  <a:pt x="1026233" y="765430"/>
                </a:lnTo>
                <a:lnTo>
                  <a:pt x="1026233" y="772884"/>
                </a:lnTo>
                <a:lnTo>
                  <a:pt x="1028069" y="772884"/>
                </a:lnTo>
                <a:lnTo>
                  <a:pt x="1028069" y="780337"/>
                </a:lnTo>
                <a:lnTo>
                  <a:pt x="1057315" y="780337"/>
                </a:lnTo>
                <a:lnTo>
                  <a:pt x="1057315" y="787982"/>
                </a:lnTo>
                <a:lnTo>
                  <a:pt x="1060725" y="787982"/>
                </a:lnTo>
                <a:lnTo>
                  <a:pt x="1060725" y="795436"/>
                </a:lnTo>
                <a:lnTo>
                  <a:pt x="1103872" y="795436"/>
                </a:lnTo>
                <a:lnTo>
                  <a:pt x="1103872" y="802889"/>
                </a:lnTo>
                <a:lnTo>
                  <a:pt x="1159086" y="802889"/>
                </a:lnTo>
                <a:lnTo>
                  <a:pt x="1159086" y="810343"/>
                </a:lnTo>
                <a:lnTo>
                  <a:pt x="1172856" y="810343"/>
                </a:lnTo>
                <a:lnTo>
                  <a:pt x="1172856" y="817988"/>
                </a:lnTo>
                <a:lnTo>
                  <a:pt x="1179807" y="817988"/>
                </a:lnTo>
                <a:lnTo>
                  <a:pt x="1179807" y="825441"/>
                </a:lnTo>
                <a:lnTo>
                  <a:pt x="1184922" y="825441"/>
                </a:lnTo>
                <a:lnTo>
                  <a:pt x="1241840" y="825441"/>
                </a:lnTo>
                <a:lnTo>
                  <a:pt x="1241840" y="832895"/>
                </a:lnTo>
                <a:lnTo>
                  <a:pt x="1281578" y="832895"/>
                </a:lnTo>
                <a:lnTo>
                  <a:pt x="1281578" y="840539"/>
                </a:lnTo>
                <a:lnTo>
                  <a:pt x="1466103" y="840539"/>
                </a:lnTo>
                <a:lnTo>
                  <a:pt x="1466103" y="847993"/>
                </a:lnTo>
                <a:lnTo>
                  <a:pt x="1481578" y="847993"/>
                </a:lnTo>
                <a:lnTo>
                  <a:pt x="1490234" y="847993"/>
                </a:lnTo>
                <a:lnTo>
                  <a:pt x="1490234" y="855829"/>
                </a:lnTo>
                <a:lnTo>
                  <a:pt x="1491939" y="855829"/>
                </a:lnTo>
                <a:lnTo>
                  <a:pt x="1491939" y="863474"/>
                </a:lnTo>
                <a:lnTo>
                  <a:pt x="1497185" y="863474"/>
                </a:lnTo>
                <a:lnTo>
                  <a:pt x="1497185" y="870927"/>
                </a:lnTo>
                <a:lnTo>
                  <a:pt x="1636857" y="870927"/>
                </a:lnTo>
                <a:lnTo>
                  <a:pt x="1636857" y="878572"/>
                </a:lnTo>
                <a:lnTo>
                  <a:pt x="1690366" y="878572"/>
                </a:lnTo>
                <a:lnTo>
                  <a:pt x="1690366" y="886217"/>
                </a:lnTo>
                <a:lnTo>
                  <a:pt x="1733514" y="886217"/>
                </a:lnTo>
                <a:lnTo>
                  <a:pt x="1733514" y="893862"/>
                </a:lnTo>
                <a:lnTo>
                  <a:pt x="1740333" y="893862"/>
                </a:lnTo>
                <a:lnTo>
                  <a:pt x="1740333" y="901506"/>
                </a:lnTo>
                <a:lnTo>
                  <a:pt x="1752399" y="901506"/>
                </a:lnTo>
                <a:lnTo>
                  <a:pt x="1762759" y="901506"/>
                </a:lnTo>
                <a:lnTo>
                  <a:pt x="1762759" y="909151"/>
                </a:lnTo>
                <a:lnTo>
                  <a:pt x="1792137" y="909151"/>
                </a:lnTo>
                <a:lnTo>
                  <a:pt x="1792137" y="916987"/>
                </a:lnTo>
                <a:lnTo>
                  <a:pt x="1843809" y="916987"/>
                </a:lnTo>
                <a:lnTo>
                  <a:pt x="1850629" y="916987"/>
                </a:lnTo>
                <a:lnTo>
                  <a:pt x="1850629" y="924823"/>
                </a:lnTo>
                <a:lnTo>
                  <a:pt x="1993842" y="924823"/>
                </a:lnTo>
                <a:lnTo>
                  <a:pt x="1993842" y="932468"/>
                </a:lnTo>
                <a:lnTo>
                  <a:pt x="2030170" y="932468"/>
                </a:lnTo>
                <a:lnTo>
                  <a:pt x="2042105" y="932468"/>
                </a:lnTo>
                <a:lnTo>
                  <a:pt x="2112924" y="932468"/>
                </a:lnTo>
                <a:lnTo>
                  <a:pt x="2161187" y="932468"/>
                </a:lnTo>
                <a:lnTo>
                  <a:pt x="2161187" y="940495"/>
                </a:lnTo>
                <a:lnTo>
                  <a:pt x="2168138" y="940495"/>
                </a:lnTo>
                <a:lnTo>
                  <a:pt x="2168138" y="948522"/>
                </a:lnTo>
                <a:lnTo>
                  <a:pt x="2264663" y="948522"/>
                </a:lnTo>
                <a:lnTo>
                  <a:pt x="2264663" y="956740"/>
                </a:lnTo>
                <a:lnTo>
                  <a:pt x="2378499" y="956740"/>
                </a:lnTo>
                <a:lnTo>
                  <a:pt x="2404466" y="956740"/>
                </a:lnTo>
                <a:lnTo>
                  <a:pt x="2609582" y="956740"/>
                </a:lnTo>
                <a:lnTo>
                  <a:pt x="2609582" y="964958"/>
                </a:lnTo>
                <a:lnTo>
                  <a:pt x="2852992" y="964958"/>
                </a:lnTo>
                <a:lnTo>
                  <a:pt x="2885648" y="964958"/>
                </a:lnTo>
                <a:lnTo>
                  <a:pt x="2889058" y="964958"/>
                </a:lnTo>
                <a:lnTo>
                  <a:pt x="2890763" y="964958"/>
                </a:lnTo>
                <a:lnTo>
                  <a:pt x="2899419" y="964958"/>
                </a:lnTo>
                <a:lnTo>
                  <a:pt x="2899419" y="973558"/>
                </a:lnTo>
                <a:lnTo>
                  <a:pt x="2913189" y="973558"/>
                </a:lnTo>
                <a:lnTo>
                  <a:pt x="2915025" y="973558"/>
                </a:lnTo>
                <a:lnTo>
                  <a:pt x="2923550" y="973558"/>
                </a:lnTo>
                <a:lnTo>
                  <a:pt x="2927091" y="973558"/>
                </a:lnTo>
                <a:lnTo>
                  <a:pt x="2930501" y="973558"/>
                </a:lnTo>
                <a:lnTo>
                  <a:pt x="2939025" y="973558"/>
                </a:lnTo>
                <a:lnTo>
                  <a:pt x="2940861" y="973558"/>
                </a:lnTo>
                <a:lnTo>
                  <a:pt x="2942566" y="973558"/>
                </a:lnTo>
                <a:lnTo>
                  <a:pt x="2944271" y="973558"/>
                </a:lnTo>
                <a:lnTo>
                  <a:pt x="2989124" y="973558"/>
                </a:lnTo>
                <a:lnTo>
                  <a:pt x="3047747" y="973558"/>
                </a:lnTo>
                <a:lnTo>
                  <a:pt x="3052993" y="973558"/>
                </a:lnTo>
                <a:lnTo>
                  <a:pt x="3073714" y="973558"/>
                </a:lnTo>
                <a:lnTo>
                  <a:pt x="3080534" y="973558"/>
                </a:lnTo>
                <a:lnTo>
                  <a:pt x="3089190" y="973558"/>
                </a:lnTo>
                <a:lnTo>
                  <a:pt x="3104665" y="973558"/>
                </a:lnTo>
                <a:lnTo>
                  <a:pt x="3116862" y="973558"/>
                </a:lnTo>
                <a:lnTo>
                  <a:pt x="3123682" y="973558"/>
                </a:lnTo>
                <a:lnTo>
                  <a:pt x="3134042" y="973558"/>
                </a:lnTo>
                <a:lnTo>
                  <a:pt x="3134042" y="985025"/>
                </a:lnTo>
                <a:lnTo>
                  <a:pt x="3142698" y="985025"/>
                </a:lnTo>
                <a:lnTo>
                  <a:pt x="3154764" y="985025"/>
                </a:lnTo>
                <a:lnTo>
                  <a:pt x="3177059" y="985025"/>
                </a:lnTo>
                <a:lnTo>
                  <a:pt x="3178895" y="985025"/>
                </a:lnTo>
                <a:lnTo>
                  <a:pt x="3182305" y="985025"/>
                </a:lnTo>
                <a:lnTo>
                  <a:pt x="3189124" y="985025"/>
                </a:lnTo>
                <a:lnTo>
                  <a:pt x="3190960" y="985025"/>
                </a:lnTo>
                <a:lnTo>
                  <a:pt x="3194370" y="985025"/>
                </a:lnTo>
                <a:lnTo>
                  <a:pt x="3201321" y="985025"/>
                </a:lnTo>
                <a:lnTo>
                  <a:pt x="3208272" y="985025"/>
                </a:lnTo>
                <a:lnTo>
                  <a:pt x="3237518" y="985025"/>
                </a:lnTo>
                <a:lnTo>
                  <a:pt x="3246043" y="985025"/>
                </a:lnTo>
                <a:lnTo>
                  <a:pt x="3287617" y="985025"/>
                </a:lnTo>
                <a:lnTo>
                  <a:pt x="3309912" y="985025"/>
                </a:lnTo>
                <a:lnTo>
                  <a:pt x="3316863" y="985025"/>
                </a:lnTo>
                <a:lnTo>
                  <a:pt x="3354764" y="985025"/>
                </a:lnTo>
                <a:lnTo>
                  <a:pt x="3380732" y="985025"/>
                </a:lnTo>
                <a:lnTo>
                  <a:pt x="3382437" y="985025"/>
                </a:lnTo>
                <a:lnTo>
                  <a:pt x="3384010" y="985025"/>
                </a:lnTo>
                <a:lnTo>
                  <a:pt x="3418633" y="985025"/>
                </a:lnTo>
                <a:lnTo>
                  <a:pt x="3422043" y="985025"/>
                </a:lnTo>
                <a:lnTo>
                  <a:pt x="3430699" y="985025"/>
                </a:lnTo>
                <a:lnTo>
                  <a:pt x="3437519" y="985025"/>
                </a:lnTo>
                <a:lnTo>
                  <a:pt x="3441060" y="985025"/>
                </a:lnTo>
                <a:lnTo>
                  <a:pt x="3460076" y="985025"/>
                </a:lnTo>
                <a:lnTo>
                  <a:pt x="3479092" y="985025"/>
                </a:lnTo>
                <a:lnTo>
                  <a:pt x="3480666" y="985025"/>
                </a:lnTo>
                <a:lnTo>
                  <a:pt x="3480666" y="1008724"/>
                </a:lnTo>
                <a:lnTo>
                  <a:pt x="3499683" y="1008724"/>
                </a:lnTo>
                <a:lnTo>
                  <a:pt x="3506502" y="1008724"/>
                </a:lnTo>
                <a:lnTo>
                  <a:pt x="3530765" y="1008724"/>
                </a:lnTo>
                <a:lnTo>
                  <a:pt x="3546240" y="1008724"/>
                </a:lnTo>
                <a:lnTo>
                  <a:pt x="3563552" y="1008724"/>
                </a:lnTo>
                <a:lnTo>
                  <a:pt x="3575486" y="1008724"/>
                </a:lnTo>
                <a:lnTo>
                  <a:pt x="3592798" y="1008724"/>
                </a:lnTo>
                <a:lnTo>
                  <a:pt x="3610110" y="1008724"/>
                </a:lnTo>
                <a:lnTo>
                  <a:pt x="3635945" y="1008724"/>
                </a:lnTo>
                <a:lnTo>
                  <a:pt x="3660077" y="1008724"/>
                </a:lnTo>
                <a:lnTo>
                  <a:pt x="3679093" y="1008724"/>
                </a:lnTo>
                <a:lnTo>
                  <a:pt x="3697978" y="1008724"/>
                </a:lnTo>
                <a:lnTo>
                  <a:pt x="3706766" y="1008724"/>
                </a:lnTo>
                <a:lnTo>
                  <a:pt x="3746372" y="1008724"/>
                </a:lnTo>
                <a:lnTo>
                  <a:pt x="3761847" y="1008724"/>
                </a:lnTo>
                <a:lnTo>
                  <a:pt x="3766962" y="1008724"/>
                </a:lnTo>
                <a:lnTo>
                  <a:pt x="3768798" y="1008724"/>
                </a:lnTo>
                <a:lnTo>
                  <a:pt x="3772208" y="1008724"/>
                </a:lnTo>
                <a:lnTo>
                  <a:pt x="3787684" y="1008724"/>
                </a:lnTo>
                <a:lnTo>
                  <a:pt x="3792929" y="1008724"/>
                </a:lnTo>
                <a:lnTo>
                  <a:pt x="3798044" y="1008724"/>
                </a:lnTo>
                <a:lnTo>
                  <a:pt x="3804995" y="1008724"/>
                </a:lnTo>
                <a:lnTo>
                  <a:pt x="3808405" y="1008724"/>
                </a:lnTo>
                <a:lnTo>
                  <a:pt x="3822307" y="1008724"/>
                </a:lnTo>
                <a:lnTo>
                  <a:pt x="4036209" y="1008724"/>
                </a:lnTo>
              </a:path>
            </a:pathLst>
          </a:custGeom>
          <a:noFill/>
          <a:ln w="12700" cap="flat">
            <a:solidFill>
              <a:schemeClr val="accent6">
                <a:lumMod val="40000"/>
                <a:lumOff val="6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210A829B-0D4B-0124-2BE5-07DAB9D9FBEF}"/>
              </a:ext>
            </a:extLst>
          </p:cNvPr>
          <p:cNvSpPr/>
          <p:nvPr/>
        </p:nvSpPr>
        <p:spPr>
          <a:xfrm>
            <a:off x="1835136" y="1879613"/>
            <a:ext cx="3820470" cy="1454985"/>
          </a:xfrm>
          <a:custGeom>
            <a:avLst/>
            <a:gdLst>
              <a:gd name="connsiteX0" fmla="*/ 0 w 3820470"/>
              <a:gd name="connsiteY0" fmla="*/ 0 h 1454985"/>
              <a:gd name="connsiteX1" fmla="*/ 19016 w 3820470"/>
              <a:gd name="connsiteY1" fmla="*/ 0 h 1454985"/>
              <a:gd name="connsiteX2" fmla="*/ 19016 w 3820470"/>
              <a:gd name="connsiteY2" fmla="*/ 40708 h 1454985"/>
              <a:gd name="connsiteX3" fmla="*/ 34492 w 3820470"/>
              <a:gd name="connsiteY3" fmla="*/ 40708 h 1454985"/>
              <a:gd name="connsiteX4" fmla="*/ 34492 w 3820470"/>
              <a:gd name="connsiteY4" fmla="*/ 81608 h 1454985"/>
              <a:gd name="connsiteX5" fmla="*/ 46558 w 3820470"/>
              <a:gd name="connsiteY5" fmla="*/ 81608 h 1454985"/>
              <a:gd name="connsiteX6" fmla="*/ 46558 w 3820470"/>
              <a:gd name="connsiteY6" fmla="*/ 122316 h 1454985"/>
              <a:gd name="connsiteX7" fmla="*/ 49967 w 3820470"/>
              <a:gd name="connsiteY7" fmla="*/ 122316 h 1454985"/>
              <a:gd name="connsiteX8" fmla="*/ 49967 w 3820470"/>
              <a:gd name="connsiteY8" fmla="*/ 163215 h 1454985"/>
              <a:gd name="connsiteX9" fmla="*/ 53377 w 3820470"/>
              <a:gd name="connsiteY9" fmla="*/ 163215 h 1454985"/>
              <a:gd name="connsiteX10" fmla="*/ 53377 w 3820470"/>
              <a:gd name="connsiteY10" fmla="*/ 205070 h 1454985"/>
              <a:gd name="connsiteX11" fmla="*/ 60328 w 3820470"/>
              <a:gd name="connsiteY11" fmla="*/ 205070 h 1454985"/>
              <a:gd name="connsiteX12" fmla="*/ 60328 w 3820470"/>
              <a:gd name="connsiteY12" fmla="*/ 247116 h 1454985"/>
              <a:gd name="connsiteX13" fmla="*/ 72525 w 3820470"/>
              <a:gd name="connsiteY13" fmla="*/ 247116 h 1454985"/>
              <a:gd name="connsiteX14" fmla="*/ 72525 w 3820470"/>
              <a:gd name="connsiteY14" fmla="*/ 288971 h 1454985"/>
              <a:gd name="connsiteX15" fmla="*/ 74099 w 3820470"/>
              <a:gd name="connsiteY15" fmla="*/ 288971 h 1454985"/>
              <a:gd name="connsiteX16" fmla="*/ 74099 w 3820470"/>
              <a:gd name="connsiteY16" fmla="*/ 330826 h 1454985"/>
              <a:gd name="connsiteX17" fmla="*/ 81049 w 3820470"/>
              <a:gd name="connsiteY17" fmla="*/ 330826 h 1454985"/>
              <a:gd name="connsiteX18" fmla="*/ 81049 w 3820470"/>
              <a:gd name="connsiteY18" fmla="*/ 372872 h 1454985"/>
              <a:gd name="connsiteX19" fmla="*/ 82754 w 3820470"/>
              <a:gd name="connsiteY19" fmla="*/ 372872 h 1454985"/>
              <a:gd name="connsiteX20" fmla="*/ 82754 w 3820470"/>
              <a:gd name="connsiteY20" fmla="*/ 414727 h 1454985"/>
              <a:gd name="connsiteX21" fmla="*/ 86164 w 3820470"/>
              <a:gd name="connsiteY21" fmla="*/ 414727 h 1454985"/>
              <a:gd name="connsiteX22" fmla="*/ 86164 w 3820470"/>
              <a:gd name="connsiteY22" fmla="*/ 456773 h 1454985"/>
              <a:gd name="connsiteX23" fmla="*/ 91410 w 3820470"/>
              <a:gd name="connsiteY23" fmla="*/ 456773 h 1454985"/>
              <a:gd name="connsiteX24" fmla="*/ 91410 w 3820470"/>
              <a:gd name="connsiteY24" fmla="*/ 498628 h 1454985"/>
              <a:gd name="connsiteX25" fmla="*/ 94820 w 3820470"/>
              <a:gd name="connsiteY25" fmla="*/ 498628 h 1454985"/>
              <a:gd name="connsiteX26" fmla="*/ 94820 w 3820470"/>
              <a:gd name="connsiteY26" fmla="*/ 540483 h 1454985"/>
              <a:gd name="connsiteX27" fmla="*/ 103476 w 3820470"/>
              <a:gd name="connsiteY27" fmla="*/ 540483 h 1454985"/>
              <a:gd name="connsiteX28" fmla="*/ 105312 w 3820470"/>
              <a:gd name="connsiteY28" fmla="*/ 540483 h 1454985"/>
              <a:gd name="connsiteX29" fmla="*/ 105312 w 3820470"/>
              <a:gd name="connsiteY29" fmla="*/ 584058 h 1454985"/>
              <a:gd name="connsiteX30" fmla="*/ 125902 w 3820470"/>
              <a:gd name="connsiteY30" fmla="*/ 584058 h 1454985"/>
              <a:gd name="connsiteX31" fmla="*/ 125902 w 3820470"/>
              <a:gd name="connsiteY31" fmla="*/ 627633 h 1454985"/>
              <a:gd name="connsiteX32" fmla="*/ 141509 w 3820470"/>
              <a:gd name="connsiteY32" fmla="*/ 627633 h 1454985"/>
              <a:gd name="connsiteX33" fmla="*/ 141509 w 3820470"/>
              <a:gd name="connsiteY33" fmla="*/ 671208 h 1454985"/>
              <a:gd name="connsiteX34" fmla="*/ 144918 w 3820470"/>
              <a:gd name="connsiteY34" fmla="*/ 671208 h 1454985"/>
              <a:gd name="connsiteX35" fmla="*/ 144918 w 3820470"/>
              <a:gd name="connsiteY35" fmla="*/ 714784 h 1454985"/>
              <a:gd name="connsiteX36" fmla="*/ 146623 w 3820470"/>
              <a:gd name="connsiteY36" fmla="*/ 714784 h 1454985"/>
              <a:gd name="connsiteX37" fmla="*/ 146623 w 3820470"/>
              <a:gd name="connsiteY37" fmla="*/ 801742 h 1454985"/>
              <a:gd name="connsiteX38" fmla="*/ 194886 w 3820470"/>
              <a:gd name="connsiteY38" fmla="*/ 801742 h 1454985"/>
              <a:gd name="connsiteX39" fmla="*/ 194886 w 3820470"/>
              <a:gd name="connsiteY39" fmla="*/ 845317 h 1454985"/>
              <a:gd name="connsiteX40" fmla="*/ 277640 w 3820470"/>
              <a:gd name="connsiteY40" fmla="*/ 845317 h 1454985"/>
              <a:gd name="connsiteX41" fmla="*/ 277640 w 3820470"/>
              <a:gd name="connsiteY41" fmla="*/ 888892 h 1454985"/>
              <a:gd name="connsiteX42" fmla="*/ 281050 w 3820470"/>
              <a:gd name="connsiteY42" fmla="*/ 888892 h 1454985"/>
              <a:gd name="connsiteX43" fmla="*/ 281050 w 3820470"/>
              <a:gd name="connsiteY43" fmla="*/ 932468 h 1454985"/>
              <a:gd name="connsiteX44" fmla="*/ 289837 w 3820470"/>
              <a:gd name="connsiteY44" fmla="*/ 932468 h 1454985"/>
              <a:gd name="connsiteX45" fmla="*/ 289837 w 3820470"/>
              <a:gd name="connsiteY45" fmla="*/ 976043 h 1454985"/>
              <a:gd name="connsiteX46" fmla="*/ 291411 w 3820470"/>
              <a:gd name="connsiteY46" fmla="*/ 976043 h 1454985"/>
              <a:gd name="connsiteX47" fmla="*/ 291411 w 3820470"/>
              <a:gd name="connsiteY47" fmla="*/ 1063002 h 1454985"/>
              <a:gd name="connsiteX48" fmla="*/ 296657 w 3820470"/>
              <a:gd name="connsiteY48" fmla="*/ 1063002 h 1454985"/>
              <a:gd name="connsiteX49" fmla="*/ 296657 w 3820470"/>
              <a:gd name="connsiteY49" fmla="*/ 1106577 h 1454985"/>
              <a:gd name="connsiteX50" fmla="*/ 362231 w 3820470"/>
              <a:gd name="connsiteY50" fmla="*/ 1106577 h 1454985"/>
              <a:gd name="connsiteX51" fmla="*/ 362231 w 3820470"/>
              <a:gd name="connsiteY51" fmla="*/ 1150152 h 1454985"/>
              <a:gd name="connsiteX52" fmla="*/ 422559 w 3820470"/>
              <a:gd name="connsiteY52" fmla="*/ 1150152 h 1454985"/>
              <a:gd name="connsiteX53" fmla="*/ 422559 w 3820470"/>
              <a:gd name="connsiteY53" fmla="*/ 1193727 h 1454985"/>
              <a:gd name="connsiteX54" fmla="*/ 491542 w 3820470"/>
              <a:gd name="connsiteY54" fmla="*/ 1193727 h 1454985"/>
              <a:gd name="connsiteX55" fmla="*/ 491542 w 3820470"/>
              <a:gd name="connsiteY55" fmla="*/ 1237302 h 1454985"/>
              <a:gd name="connsiteX56" fmla="*/ 727871 w 3820470"/>
              <a:gd name="connsiteY56" fmla="*/ 1237302 h 1454985"/>
              <a:gd name="connsiteX57" fmla="*/ 727871 w 3820470"/>
              <a:gd name="connsiteY57" fmla="*/ 1280877 h 1454985"/>
              <a:gd name="connsiteX58" fmla="*/ 867675 w 3820470"/>
              <a:gd name="connsiteY58" fmla="*/ 1280877 h 1454985"/>
              <a:gd name="connsiteX59" fmla="*/ 867675 w 3820470"/>
              <a:gd name="connsiteY59" fmla="*/ 1324261 h 1454985"/>
              <a:gd name="connsiteX60" fmla="*/ 1038429 w 3820470"/>
              <a:gd name="connsiteY60" fmla="*/ 1324261 h 1454985"/>
              <a:gd name="connsiteX61" fmla="*/ 1038429 w 3820470"/>
              <a:gd name="connsiteY61" fmla="*/ 1367836 h 1454985"/>
              <a:gd name="connsiteX62" fmla="*/ 1040003 w 3820470"/>
              <a:gd name="connsiteY62" fmla="*/ 1367836 h 1454985"/>
              <a:gd name="connsiteX63" fmla="*/ 1040003 w 3820470"/>
              <a:gd name="connsiteY63" fmla="*/ 1411411 h 1454985"/>
              <a:gd name="connsiteX64" fmla="*/ 1340201 w 3820470"/>
              <a:gd name="connsiteY64" fmla="*/ 1411411 h 1454985"/>
              <a:gd name="connsiteX65" fmla="*/ 1340201 w 3820470"/>
              <a:gd name="connsiteY65" fmla="*/ 1454986 h 1454985"/>
              <a:gd name="connsiteX66" fmla="*/ 3104665 w 3820470"/>
              <a:gd name="connsiteY66" fmla="*/ 1454986 h 1454985"/>
              <a:gd name="connsiteX67" fmla="*/ 3201321 w 3820470"/>
              <a:gd name="connsiteY67" fmla="*/ 1454986 h 1454985"/>
              <a:gd name="connsiteX68" fmla="*/ 3515289 w 3820470"/>
              <a:gd name="connsiteY68" fmla="*/ 1454986 h 1454985"/>
              <a:gd name="connsiteX69" fmla="*/ 3786110 w 3820470"/>
              <a:gd name="connsiteY69" fmla="*/ 1454986 h 1454985"/>
              <a:gd name="connsiteX70" fmla="*/ 3820471 w 3820470"/>
              <a:gd name="connsiteY70" fmla="*/ 1454986 h 1454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3820470" h="1454985">
                <a:moveTo>
                  <a:pt x="0" y="0"/>
                </a:moveTo>
                <a:lnTo>
                  <a:pt x="19016" y="0"/>
                </a:lnTo>
                <a:lnTo>
                  <a:pt x="19016" y="40708"/>
                </a:lnTo>
                <a:lnTo>
                  <a:pt x="34492" y="40708"/>
                </a:lnTo>
                <a:lnTo>
                  <a:pt x="34492" y="81608"/>
                </a:lnTo>
                <a:lnTo>
                  <a:pt x="46558" y="81608"/>
                </a:lnTo>
                <a:lnTo>
                  <a:pt x="46558" y="122316"/>
                </a:lnTo>
                <a:lnTo>
                  <a:pt x="49967" y="122316"/>
                </a:lnTo>
                <a:lnTo>
                  <a:pt x="49967" y="163215"/>
                </a:lnTo>
                <a:lnTo>
                  <a:pt x="53377" y="163215"/>
                </a:lnTo>
                <a:lnTo>
                  <a:pt x="53377" y="205070"/>
                </a:lnTo>
                <a:lnTo>
                  <a:pt x="60328" y="205070"/>
                </a:lnTo>
                <a:lnTo>
                  <a:pt x="60328" y="247116"/>
                </a:lnTo>
                <a:lnTo>
                  <a:pt x="72525" y="247116"/>
                </a:lnTo>
                <a:lnTo>
                  <a:pt x="72525" y="288971"/>
                </a:lnTo>
                <a:lnTo>
                  <a:pt x="74099" y="288971"/>
                </a:lnTo>
                <a:lnTo>
                  <a:pt x="74099" y="330826"/>
                </a:lnTo>
                <a:lnTo>
                  <a:pt x="81049" y="330826"/>
                </a:lnTo>
                <a:lnTo>
                  <a:pt x="81049" y="372872"/>
                </a:lnTo>
                <a:lnTo>
                  <a:pt x="82754" y="372872"/>
                </a:lnTo>
                <a:lnTo>
                  <a:pt x="82754" y="414727"/>
                </a:lnTo>
                <a:lnTo>
                  <a:pt x="86164" y="414727"/>
                </a:lnTo>
                <a:lnTo>
                  <a:pt x="86164" y="456773"/>
                </a:lnTo>
                <a:lnTo>
                  <a:pt x="91410" y="456773"/>
                </a:lnTo>
                <a:lnTo>
                  <a:pt x="91410" y="498628"/>
                </a:lnTo>
                <a:lnTo>
                  <a:pt x="94820" y="498628"/>
                </a:lnTo>
                <a:lnTo>
                  <a:pt x="94820" y="540483"/>
                </a:lnTo>
                <a:lnTo>
                  <a:pt x="103476" y="540483"/>
                </a:lnTo>
                <a:lnTo>
                  <a:pt x="105312" y="540483"/>
                </a:lnTo>
                <a:lnTo>
                  <a:pt x="105312" y="584058"/>
                </a:lnTo>
                <a:lnTo>
                  <a:pt x="125902" y="584058"/>
                </a:lnTo>
                <a:lnTo>
                  <a:pt x="125902" y="627633"/>
                </a:lnTo>
                <a:lnTo>
                  <a:pt x="141509" y="627633"/>
                </a:lnTo>
                <a:lnTo>
                  <a:pt x="141509" y="671208"/>
                </a:lnTo>
                <a:lnTo>
                  <a:pt x="144918" y="671208"/>
                </a:lnTo>
                <a:lnTo>
                  <a:pt x="144918" y="714784"/>
                </a:lnTo>
                <a:lnTo>
                  <a:pt x="146623" y="714784"/>
                </a:lnTo>
                <a:lnTo>
                  <a:pt x="146623" y="801742"/>
                </a:lnTo>
                <a:lnTo>
                  <a:pt x="194886" y="801742"/>
                </a:lnTo>
                <a:lnTo>
                  <a:pt x="194886" y="845317"/>
                </a:lnTo>
                <a:lnTo>
                  <a:pt x="277640" y="845317"/>
                </a:lnTo>
                <a:lnTo>
                  <a:pt x="277640" y="888892"/>
                </a:lnTo>
                <a:lnTo>
                  <a:pt x="281050" y="888892"/>
                </a:lnTo>
                <a:lnTo>
                  <a:pt x="281050" y="932468"/>
                </a:lnTo>
                <a:lnTo>
                  <a:pt x="289837" y="932468"/>
                </a:lnTo>
                <a:lnTo>
                  <a:pt x="289837" y="976043"/>
                </a:lnTo>
                <a:lnTo>
                  <a:pt x="291411" y="976043"/>
                </a:lnTo>
                <a:lnTo>
                  <a:pt x="291411" y="1063002"/>
                </a:lnTo>
                <a:lnTo>
                  <a:pt x="296657" y="1063002"/>
                </a:lnTo>
                <a:lnTo>
                  <a:pt x="296657" y="1106577"/>
                </a:lnTo>
                <a:lnTo>
                  <a:pt x="362231" y="1106577"/>
                </a:lnTo>
                <a:lnTo>
                  <a:pt x="362231" y="1150152"/>
                </a:lnTo>
                <a:lnTo>
                  <a:pt x="422559" y="1150152"/>
                </a:lnTo>
                <a:lnTo>
                  <a:pt x="422559" y="1193727"/>
                </a:lnTo>
                <a:lnTo>
                  <a:pt x="491542" y="1193727"/>
                </a:lnTo>
                <a:lnTo>
                  <a:pt x="491542" y="1237302"/>
                </a:lnTo>
                <a:lnTo>
                  <a:pt x="727871" y="1237302"/>
                </a:lnTo>
                <a:lnTo>
                  <a:pt x="727871" y="1280877"/>
                </a:lnTo>
                <a:lnTo>
                  <a:pt x="867675" y="1280877"/>
                </a:lnTo>
                <a:lnTo>
                  <a:pt x="867675" y="1324261"/>
                </a:lnTo>
                <a:lnTo>
                  <a:pt x="1038429" y="1324261"/>
                </a:lnTo>
                <a:lnTo>
                  <a:pt x="1038429" y="1367836"/>
                </a:lnTo>
                <a:lnTo>
                  <a:pt x="1040003" y="1367836"/>
                </a:lnTo>
                <a:lnTo>
                  <a:pt x="1040003" y="1411411"/>
                </a:lnTo>
                <a:lnTo>
                  <a:pt x="1340201" y="1411411"/>
                </a:lnTo>
                <a:lnTo>
                  <a:pt x="1340201" y="1454986"/>
                </a:lnTo>
                <a:lnTo>
                  <a:pt x="3104665" y="1454986"/>
                </a:lnTo>
                <a:lnTo>
                  <a:pt x="3201321" y="1454986"/>
                </a:lnTo>
                <a:lnTo>
                  <a:pt x="3515289" y="1454986"/>
                </a:lnTo>
                <a:lnTo>
                  <a:pt x="3786110" y="1454986"/>
                </a:lnTo>
                <a:lnTo>
                  <a:pt x="3820471" y="1454986"/>
                </a:lnTo>
              </a:path>
            </a:pathLst>
          </a:custGeom>
          <a:noFill/>
          <a:ln w="12700" cap="flat">
            <a:solidFill>
              <a:schemeClr val="accent2">
                <a:lumMod val="60000"/>
                <a:lumOff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E51B0704-718C-0041-E637-D2602ECB0063}"/>
              </a:ext>
            </a:extLst>
          </p:cNvPr>
          <p:cNvSpPr/>
          <p:nvPr/>
        </p:nvSpPr>
        <p:spPr>
          <a:xfrm>
            <a:off x="1835136" y="1879613"/>
            <a:ext cx="4063618" cy="853153"/>
          </a:xfrm>
          <a:custGeom>
            <a:avLst/>
            <a:gdLst>
              <a:gd name="connsiteX0" fmla="*/ 0 w 4063618"/>
              <a:gd name="connsiteY0" fmla="*/ 0 h 853153"/>
              <a:gd name="connsiteX1" fmla="*/ 1705 w 4063618"/>
              <a:gd name="connsiteY1" fmla="*/ 0 h 853153"/>
              <a:gd name="connsiteX2" fmla="*/ 51803 w 4063618"/>
              <a:gd name="connsiteY2" fmla="*/ 0 h 853153"/>
              <a:gd name="connsiteX3" fmla="*/ 51803 w 4063618"/>
              <a:gd name="connsiteY3" fmla="*/ 6307 h 853153"/>
              <a:gd name="connsiteX4" fmla="*/ 62164 w 4063618"/>
              <a:gd name="connsiteY4" fmla="*/ 6307 h 853153"/>
              <a:gd name="connsiteX5" fmla="*/ 65574 w 4063618"/>
              <a:gd name="connsiteY5" fmla="*/ 6307 h 853153"/>
              <a:gd name="connsiteX6" fmla="*/ 96525 w 4063618"/>
              <a:gd name="connsiteY6" fmla="*/ 6307 h 853153"/>
              <a:gd name="connsiteX7" fmla="*/ 98361 w 4063618"/>
              <a:gd name="connsiteY7" fmla="*/ 6307 h 853153"/>
              <a:gd name="connsiteX8" fmla="*/ 99935 w 4063618"/>
              <a:gd name="connsiteY8" fmla="*/ 6307 h 853153"/>
              <a:gd name="connsiteX9" fmla="*/ 144918 w 4063618"/>
              <a:gd name="connsiteY9" fmla="*/ 6307 h 853153"/>
              <a:gd name="connsiteX10" fmla="*/ 144918 w 4063618"/>
              <a:gd name="connsiteY10" fmla="*/ 12805 h 853153"/>
              <a:gd name="connsiteX11" fmla="*/ 170755 w 4063618"/>
              <a:gd name="connsiteY11" fmla="*/ 12805 h 853153"/>
              <a:gd name="connsiteX12" fmla="*/ 177705 w 4063618"/>
              <a:gd name="connsiteY12" fmla="*/ 12805 h 853153"/>
              <a:gd name="connsiteX13" fmla="*/ 200132 w 4063618"/>
              <a:gd name="connsiteY13" fmla="*/ 12805 h 853153"/>
              <a:gd name="connsiteX14" fmla="*/ 243148 w 4063618"/>
              <a:gd name="connsiteY14" fmla="*/ 12805 h 853153"/>
              <a:gd name="connsiteX15" fmla="*/ 243148 w 4063618"/>
              <a:gd name="connsiteY15" fmla="*/ 19303 h 853153"/>
              <a:gd name="connsiteX16" fmla="*/ 251804 w 4063618"/>
              <a:gd name="connsiteY16" fmla="*/ 19303 h 853153"/>
              <a:gd name="connsiteX17" fmla="*/ 286296 w 4063618"/>
              <a:gd name="connsiteY17" fmla="*/ 19303 h 853153"/>
              <a:gd name="connsiteX18" fmla="*/ 286296 w 4063618"/>
              <a:gd name="connsiteY18" fmla="*/ 25801 h 853153"/>
              <a:gd name="connsiteX19" fmla="*/ 288001 w 4063618"/>
              <a:gd name="connsiteY19" fmla="*/ 25801 h 853153"/>
              <a:gd name="connsiteX20" fmla="*/ 288001 w 4063618"/>
              <a:gd name="connsiteY20" fmla="*/ 32490 h 853153"/>
              <a:gd name="connsiteX21" fmla="*/ 291411 w 4063618"/>
              <a:gd name="connsiteY21" fmla="*/ 32490 h 853153"/>
              <a:gd name="connsiteX22" fmla="*/ 291411 w 4063618"/>
              <a:gd name="connsiteY22" fmla="*/ 38988 h 853153"/>
              <a:gd name="connsiteX23" fmla="*/ 339804 w 4063618"/>
              <a:gd name="connsiteY23" fmla="*/ 38988 h 853153"/>
              <a:gd name="connsiteX24" fmla="*/ 362231 w 4063618"/>
              <a:gd name="connsiteY24" fmla="*/ 38988 h 853153"/>
              <a:gd name="connsiteX25" fmla="*/ 388067 w 4063618"/>
              <a:gd name="connsiteY25" fmla="*/ 38988 h 853153"/>
              <a:gd name="connsiteX26" fmla="*/ 388067 w 4063618"/>
              <a:gd name="connsiteY26" fmla="*/ 45677 h 853153"/>
              <a:gd name="connsiteX27" fmla="*/ 393182 w 4063618"/>
              <a:gd name="connsiteY27" fmla="*/ 45677 h 853153"/>
              <a:gd name="connsiteX28" fmla="*/ 393182 w 4063618"/>
              <a:gd name="connsiteY28" fmla="*/ 52366 h 853153"/>
              <a:gd name="connsiteX29" fmla="*/ 415608 w 4063618"/>
              <a:gd name="connsiteY29" fmla="*/ 52366 h 853153"/>
              <a:gd name="connsiteX30" fmla="*/ 415608 w 4063618"/>
              <a:gd name="connsiteY30" fmla="*/ 59056 h 853153"/>
              <a:gd name="connsiteX31" fmla="*/ 470952 w 4063618"/>
              <a:gd name="connsiteY31" fmla="*/ 59056 h 853153"/>
              <a:gd name="connsiteX32" fmla="*/ 470952 w 4063618"/>
              <a:gd name="connsiteY32" fmla="*/ 65745 h 853153"/>
              <a:gd name="connsiteX33" fmla="*/ 493247 w 4063618"/>
              <a:gd name="connsiteY33" fmla="*/ 65745 h 853153"/>
              <a:gd name="connsiteX34" fmla="*/ 493247 w 4063618"/>
              <a:gd name="connsiteY34" fmla="*/ 72434 h 853153"/>
              <a:gd name="connsiteX35" fmla="*/ 541510 w 4063618"/>
              <a:gd name="connsiteY35" fmla="*/ 72434 h 853153"/>
              <a:gd name="connsiteX36" fmla="*/ 541510 w 4063618"/>
              <a:gd name="connsiteY36" fmla="*/ 78932 h 853153"/>
              <a:gd name="connsiteX37" fmla="*/ 550297 w 4063618"/>
              <a:gd name="connsiteY37" fmla="*/ 78932 h 853153"/>
              <a:gd name="connsiteX38" fmla="*/ 550297 w 4063618"/>
              <a:gd name="connsiteY38" fmla="*/ 85621 h 853153"/>
              <a:gd name="connsiteX39" fmla="*/ 570887 w 4063618"/>
              <a:gd name="connsiteY39" fmla="*/ 85621 h 853153"/>
              <a:gd name="connsiteX40" fmla="*/ 570887 w 4063618"/>
              <a:gd name="connsiteY40" fmla="*/ 92310 h 853153"/>
              <a:gd name="connsiteX41" fmla="*/ 577707 w 4063618"/>
              <a:gd name="connsiteY41" fmla="*/ 92310 h 853153"/>
              <a:gd name="connsiteX42" fmla="*/ 577707 w 4063618"/>
              <a:gd name="connsiteY42" fmla="*/ 105689 h 853153"/>
              <a:gd name="connsiteX43" fmla="*/ 579543 w 4063618"/>
              <a:gd name="connsiteY43" fmla="*/ 105689 h 853153"/>
              <a:gd name="connsiteX44" fmla="*/ 579543 w 4063618"/>
              <a:gd name="connsiteY44" fmla="*/ 112378 h 853153"/>
              <a:gd name="connsiteX45" fmla="*/ 581248 w 4063618"/>
              <a:gd name="connsiteY45" fmla="*/ 112378 h 853153"/>
              <a:gd name="connsiteX46" fmla="*/ 581248 w 4063618"/>
              <a:gd name="connsiteY46" fmla="*/ 119067 h 853153"/>
              <a:gd name="connsiteX47" fmla="*/ 596854 w 4063618"/>
              <a:gd name="connsiteY47" fmla="*/ 119067 h 853153"/>
              <a:gd name="connsiteX48" fmla="*/ 596854 w 4063618"/>
              <a:gd name="connsiteY48" fmla="*/ 125756 h 853153"/>
              <a:gd name="connsiteX49" fmla="*/ 617445 w 4063618"/>
              <a:gd name="connsiteY49" fmla="*/ 125756 h 853153"/>
              <a:gd name="connsiteX50" fmla="*/ 681314 w 4063618"/>
              <a:gd name="connsiteY50" fmla="*/ 125756 h 853153"/>
              <a:gd name="connsiteX51" fmla="*/ 681314 w 4063618"/>
              <a:gd name="connsiteY51" fmla="*/ 132445 h 853153"/>
              <a:gd name="connsiteX52" fmla="*/ 693379 w 4063618"/>
              <a:gd name="connsiteY52" fmla="*/ 132445 h 853153"/>
              <a:gd name="connsiteX53" fmla="*/ 693379 w 4063618"/>
              <a:gd name="connsiteY53" fmla="*/ 139134 h 853153"/>
              <a:gd name="connsiteX54" fmla="*/ 702035 w 4063618"/>
              <a:gd name="connsiteY54" fmla="*/ 139134 h 853153"/>
              <a:gd name="connsiteX55" fmla="*/ 702035 w 4063618"/>
              <a:gd name="connsiteY55" fmla="*/ 145823 h 853153"/>
              <a:gd name="connsiteX56" fmla="*/ 703740 w 4063618"/>
              <a:gd name="connsiteY56" fmla="*/ 145823 h 853153"/>
              <a:gd name="connsiteX57" fmla="*/ 703740 w 4063618"/>
              <a:gd name="connsiteY57" fmla="*/ 152513 h 853153"/>
              <a:gd name="connsiteX58" fmla="*/ 722625 w 4063618"/>
              <a:gd name="connsiteY58" fmla="*/ 152513 h 853153"/>
              <a:gd name="connsiteX59" fmla="*/ 722625 w 4063618"/>
              <a:gd name="connsiteY59" fmla="*/ 159202 h 853153"/>
              <a:gd name="connsiteX60" fmla="*/ 724461 w 4063618"/>
              <a:gd name="connsiteY60" fmla="*/ 159202 h 853153"/>
              <a:gd name="connsiteX61" fmla="*/ 724461 w 4063618"/>
              <a:gd name="connsiteY61" fmla="*/ 165891 h 853153"/>
              <a:gd name="connsiteX62" fmla="*/ 726035 w 4063618"/>
              <a:gd name="connsiteY62" fmla="*/ 165891 h 853153"/>
              <a:gd name="connsiteX63" fmla="*/ 726035 w 4063618"/>
              <a:gd name="connsiteY63" fmla="*/ 172580 h 853153"/>
              <a:gd name="connsiteX64" fmla="*/ 739937 w 4063618"/>
              <a:gd name="connsiteY64" fmla="*/ 172580 h 853153"/>
              <a:gd name="connsiteX65" fmla="*/ 739937 w 4063618"/>
              <a:gd name="connsiteY65" fmla="*/ 179269 h 853153"/>
              <a:gd name="connsiteX66" fmla="*/ 746888 w 4063618"/>
              <a:gd name="connsiteY66" fmla="*/ 179269 h 853153"/>
              <a:gd name="connsiteX67" fmla="*/ 746888 w 4063618"/>
              <a:gd name="connsiteY67" fmla="*/ 185958 h 853153"/>
              <a:gd name="connsiteX68" fmla="*/ 771019 w 4063618"/>
              <a:gd name="connsiteY68" fmla="*/ 185958 h 853153"/>
              <a:gd name="connsiteX69" fmla="*/ 771019 w 4063618"/>
              <a:gd name="connsiteY69" fmla="*/ 192648 h 853153"/>
              <a:gd name="connsiteX70" fmla="*/ 776134 w 4063618"/>
              <a:gd name="connsiteY70" fmla="*/ 192648 h 853153"/>
              <a:gd name="connsiteX71" fmla="*/ 776134 w 4063618"/>
              <a:gd name="connsiteY71" fmla="*/ 199337 h 853153"/>
              <a:gd name="connsiteX72" fmla="*/ 801970 w 4063618"/>
              <a:gd name="connsiteY72" fmla="*/ 199337 h 853153"/>
              <a:gd name="connsiteX73" fmla="*/ 801970 w 4063618"/>
              <a:gd name="connsiteY73" fmla="*/ 206026 h 853153"/>
              <a:gd name="connsiteX74" fmla="*/ 836593 w 4063618"/>
              <a:gd name="connsiteY74" fmla="*/ 206026 h 853153"/>
              <a:gd name="connsiteX75" fmla="*/ 836593 w 4063618"/>
              <a:gd name="connsiteY75" fmla="*/ 219404 h 853153"/>
              <a:gd name="connsiteX76" fmla="*/ 853773 w 4063618"/>
              <a:gd name="connsiteY76" fmla="*/ 219404 h 853153"/>
              <a:gd name="connsiteX77" fmla="*/ 853773 w 4063618"/>
              <a:gd name="connsiteY77" fmla="*/ 226093 h 853153"/>
              <a:gd name="connsiteX78" fmla="*/ 860724 w 4063618"/>
              <a:gd name="connsiteY78" fmla="*/ 226093 h 853153"/>
              <a:gd name="connsiteX79" fmla="*/ 860724 w 4063618"/>
              <a:gd name="connsiteY79" fmla="*/ 232782 h 853153"/>
              <a:gd name="connsiteX80" fmla="*/ 862429 w 4063618"/>
              <a:gd name="connsiteY80" fmla="*/ 232782 h 853153"/>
              <a:gd name="connsiteX81" fmla="*/ 862429 w 4063618"/>
              <a:gd name="connsiteY81" fmla="*/ 239472 h 853153"/>
              <a:gd name="connsiteX82" fmla="*/ 864134 w 4063618"/>
              <a:gd name="connsiteY82" fmla="*/ 239472 h 853153"/>
              <a:gd name="connsiteX83" fmla="*/ 864134 w 4063618"/>
              <a:gd name="connsiteY83" fmla="*/ 253041 h 853153"/>
              <a:gd name="connsiteX84" fmla="*/ 865839 w 4063618"/>
              <a:gd name="connsiteY84" fmla="*/ 253041 h 853153"/>
              <a:gd name="connsiteX85" fmla="*/ 865839 w 4063618"/>
              <a:gd name="connsiteY85" fmla="*/ 259730 h 853153"/>
              <a:gd name="connsiteX86" fmla="*/ 870953 w 4063618"/>
              <a:gd name="connsiteY86" fmla="*/ 259730 h 853153"/>
              <a:gd name="connsiteX87" fmla="*/ 870953 w 4063618"/>
              <a:gd name="connsiteY87" fmla="*/ 279798 h 853153"/>
              <a:gd name="connsiteX88" fmla="*/ 872790 w 4063618"/>
              <a:gd name="connsiteY88" fmla="*/ 279798 h 853153"/>
              <a:gd name="connsiteX89" fmla="*/ 872790 w 4063618"/>
              <a:gd name="connsiteY89" fmla="*/ 293176 h 853153"/>
              <a:gd name="connsiteX90" fmla="*/ 874363 w 4063618"/>
              <a:gd name="connsiteY90" fmla="*/ 293176 h 853153"/>
              <a:gd name="connsiteX91" fmla="*/ 874363 w 4063618"/>
              <a:gd name="connsiteY91" fmla="*/ 299865 h 853153"/>
              <a:gd name="connsiteX92" fmla="*/ 884855 w 4063618"/>
              <a:gd name="connsiteY92" fmla="*/ 299865 h 853153"/>
              <a:gd name="connsiteX93" fmla="*/ 884855 w 4063618"/>
              <a:gd name="connsiteY93" fmla="*/ 306554 h 853153"/>
              <a:gd name="connsiteX94" fmla="*/ 890101 w 4063618"/>
              <a:gd name="connsiteY94" fmla="*/ 306554 h 853153"/>
              <a:gd name="connsiteX95" fmla="*/ 890101 w 4063618"/>
              <a:gd name="connsiteY95" fmla="*/ 313243 h 853153"/>
              <a:gd name="connsiteX96" fmla="*/ 891675 w 4063618"/>
              <a:gd name="connsiteY96" fmla="*/ 313243 h 853153"/>
              <a:gd name="connsiteX97" fmla="*/ 891675 w 4063618"/>
              <a:gd name="connsiteY97" fmla="*/ 319932 h 853153"/>
              <a:gd name="connsiteX98" fmla="*/ 896921 w 4063618"/>
              <a:gd name="connsiteY98" fmla="*/ 319932 h 853153"/>
              <a:gd name="connsiteX99" fmla="*/ 902036 w 4063618"/>
              <a:gd name="connsiteY99" fmla="*/ 319932 h 853153"/>
              <a:gd name="connsiteX100" fmla="*/ 902036 w 4063618"/>
              <a:gd name="connsiteY100" fmla="*/ 326622 h 853153"/>
              <a:gd name="connsiteX101" fmla="*/ 921052 w 4063618"/>
              <a:gd name="connsiteY101" fmla="*/ 326622 h 853153"/>
              <a:gd name="connsiteX102" fmla="*/ 921052 w 4063618"/>
              <a:gd name="connsiteY102" fmla="*/ 340000 h 853153"/>
              <a:gd name="connsiteX103" fmla="*/ 938232 w 4063618"/>
              <a:gd name="connsiteY103" fmla="*/ 340000 h 853153"/>
              <a:gd name="connsiteX104" fmla="*/ 938232 w 4063618"/>
              <a:gd name="connsiteY104" fmla="*/ 346880 h 853153"/>
              <a:gd name="connsiteX105" fmla="*/ 939937 w 4063618"/>
              <a:gd name="connsiteY105" fmla="*/ 346880 h 853153"/>
              <a:gd name="connsiteX106" fmla="*/ 939937 w 4063618"/>
              <a:gd name="connsiteY106" fmla="*/ 353569 h 853153"/>
              <a:gd name="connsiteX107" fmla="*/ 1003806 w 4063618"/>
              <a:gd name="connsiteY107" fmla="*/ 353569 h 853153"/>
              <a:gd name="connsiteX108" fmla="*/ 1003806 w 4063618"/>
              <a:gd name="connsiteY108" fmla="*/ 366948 h 853153"/>
              <a:gd name="connsiteX109" fmla="*/ 1007216 w 4063618"/>
              <a:gd name="connsiteY109" fmla="*/ 366948 h 853153"/>
              <a:gd name="connsiteX110" fmla="*/ 1007216 w 4063618"/>
              <a:gd name="connsiteY110" fmla="*/ 373828 h 853153"/>
              <a:gd name="connsiteX111" fmla="*/ 1009052 w 4063618"/>
              <a:gd name="connsiteY111" fmla="*/ 373828 h 853153"/>
              <a:gd name="connsiteX112" fmla="*/ 1009052 w 4063618"/>
              <a:gd name="connsiteY112" fmla="*/ 380517 h 853153"/>
              <a:gd name="connsiteX113" fmla="*/ 1012462 w 4063618"/>
              <a:gd name="connsiteY113" fmla="*/ 380517 h 853153"/>
              <a:gd name="connsiteX114" fmla="*/ 1012462 w 4063618"/>
              <a:gd name="connsiteY114" fmla="*/ 387206 h 853153"/>
              <a:gd name="connsiteX115" fmla="*/ 1022823 w 4063618"/>
              <a:gd name="connsiteY115" fmla="*/ 387206 h 853153"/>
              <a:gd name="connsiteX116" fmla="*/ 1022823 w 4063618"/>
              <a:gd name="connsiteY116" fmla="*/ 393895 h 853153"/>
              <a:gd name="connsiteX117" fmla="*/ 1024528 w 4063618"/>
              <a:gd name="connsiteY117" fmla="*/ 393895 h 853153"/>
              <a:gd name="connsiteX118" fmla="*/ 1024528 w 4063618"/>
              <a:gd name="connsiteY118" fmla="*/ 400585 h 853153"/>
              <a:gd name="connsiteX119" fmla="*/ 1026233 w 4063618"/>
              <a:gd name="connsiteY119" fmla="*/ 400585 h 853153"/>
              <a:gd name="connsiteX120" fmla="*/ 1026233 w 4063618"/>
              <a:gd name="connsiteY120" fmla="*/ 407465 h 853153"/>
              <a:gd name="connsiteX121" fmla="*/ 1034888 w 4063618"/>
              <a:gd name="connsiteY121" fmla="*/ 407465 h 853153"/>
              <a:gd name="connsiteX122" fmla="*/ 1043544 w 4063618"/>
              <a:gd name="connsiteY122" fmla="*/ 407465 h 853153"/>
              <a:gd name="connsiteX123" fmla="*/ 1043544 w 4063618"/>
              <a:gd name="connsiteY123" fmla="*/ 414154 h 853153"/>
              <a:gd name="connsiteX124" fmla="*/ 1055610 w 4063618"/>
              <a:gd name="connsiteY124" fmla="*/ 414154 h 853153"/>
              <a:gd name="connsiteX125" fmla="*/ 1055610 w 4063618"/>
              <a:gd name="connsiteY125" fmla="*/ 421034 h 853153"/>
              <a:gd name="connsiteX126" fmla="*/ 1093512 w 4063618"/>
              <a:gd name="connsiteY126" fmla="*/ 421034 h 853153"/>
              <a:gd name="connsiteX127" fmla="*/ 1140069 w 4063618"/>
              <a:gd name="connsiteY127" fmla="*/ 421034 h 853153"/>
              <a:gd name="connsiteX128" fmla="*/ 1140069 w 4063618"/>
              <a:gd name="connsiteY128" fmla="*/ 427723 h 853153"/>
              <a:gd name="connsiteX129" fmla="*/ 1150430 w 4063618"/>
              <a:gd name="connsiteY129" fmla="*/ 427723 h 853153"/>
              <a:gd name="connsiteX130" fmla="*/ 1150430 w 4063618"/>
              <a:gd name="connsiteY130" fmla="*/ 434604 h 853153"/>
              <a:gd name="connsiteX131" fmla="*/ 1160790 w 4063618"/>
              <a:gd name="connsiteY131" fmla="*/ 434604 h 853153"/>
              <a:gd name="connsiteX132" fmla="*/ 1160790 w 4063618"/>
              <a:gd name="connsiteY132" fmla="*/ 441293 h 853153"/>
              <a:gd name="connsiteX133" fmla="*/ 1162495 w 4063618"/>
              <a:gd name="connsiteY133" fmla="*/ 441293 h 853153"/>
              <a:gd name="connsiteX134" fmla="*/ 1162495 w 4063618"/>
              <a:gd name="connsiteY134" fmla="*/ 454862 h 853153"/>
              <a:gd name="connsiteX135" fmla="*/ 1174561 w 4063618"/>
              <a:gd name="connsiteY135" fmla="*/ 454862 h 853153"/>
              <a:gd name="connsiteX136" fmla="*/ 1174561 w 4063618"/>
              <a:gd name="connsiteY136" fmla="*/ 461742 h 853153"/>
              <a:gd name="connsiteX137" fmla="*/ 1183217 w 4063618"/>
              <a:gd name="connsiteY137" fmla="*/ 461742 h 853153"/>
              <a:gd name="connsiteX138" fmla="*/ 1183217 w 4063618"/>
              <a:gd name="connsiteY138" fmla="*/ 468623 h 853153"/>
              <a:gd name="connsiteX139" fmla="*/ 1188332 w 4063618"/>
              <a:gd name="connsiteY139" fmla="*/ 468623 h 853153"/>
              <a:gd name="connsiteX140" fmla="*/ 1188332 w 4063618"/>
              <a:gd name="connsiteY140" fmla="*/ 475312 h 853153"/>
              <a:gd name="connsiteX141" fmla="*/ 1197118 w 4063618"/>
              <a:gd name="connsiteY141" fmla="*/ 475312 h 853153"/>
              <a:gd name="connsiteX142" fmla="*/ 1197118 w 4063618"/>
              <a:gd name="connsiteY142" fmla="*/ 482192 h 853153"/>
              <a:gd name="connsiteX143" fmla="*/ 1202233 w 4063618"/>
              <a:gd name="connsiteY143" fmla="*/ 482192 h 853153"/>
              <a:gd name="connsiteX144" fmla="*/ 1202233 w 4063618"/>
              <a:gd name="connsiteY144" fmla="*/ 489072 h 853153"/>
              <a:gd name="connsiteX145" fmla="*/ 1212594 w 4063618"/>
              <a:gd name="connsiteY145" fmla="*/ 489072 h 853153"/>
              <a:gd name="connsiteX146" fmla="*/ 1212594 w 4063618"/>
              <a:gd name="connsiteY146" fmla="*/ 495762 h 853153"/>
              <a:gd name="connsiteX147" fmla="*/ 1222955 w 4063618"/>
              <a:gd name="connsiteY147" fmla="*/ 495762 h 853153"/>
              <a:gd name="connsiteX148" fmla="*/ 1222955 w 4063618"/>
              <a:gd name="connsiteY148" fmla="*/ 502642 h 853153"/>
              <a:gd name="connsiteX149" fmla="*/ 1269512 w 4063618"/>
              <a:gd name="connsiteY149" fmla="*/ 502642 h 853153"/>
              <a:gd name="connsiteX150" fmla="*/ 1269512 w 4063618"/>
              <a:gd name="connsiteY150" fmla="*/ 509522 h 853153"/>
              <a:gd name="connsiteX151" fmla="*/ 1335086 w 4063618"/>
              <a:gd name="connsiteY151" fmla="*/ 509522 h 853153"/>
              <a:gd name="connsiteX152" fmla="*/ 1335086 w 4063618"/>
              <a:gd name="connsiteY152" fmla="*/ 516402 h 853153"/>
              <a:gd name="connsiteX153" fmla="*/ 1345447 w 4063618"/>
              <a:gd name="connsiteY153" fmla="*/ 516402 h 853153"/>
              <a:gd name="connsiteX154" fmla="*/ 1345447 w 4063618"/>
              <a:gd name="connsiteY154" fmla="*/ 523092 h 853153"/>
              <a:gd name="connsiteX155" fmla="*/ 1348857 w 4063618"/>
              <a:gd name="connsiteY155" fmla="*/ 523092 h 853153"/>
              <a:gd name="connsiteX156" fmla="*/ 1348857 w 4063618"/>
              <a:gd name="connsiteY156" fmla="*/ 529972 h 853153"/>
              <a:gd name="connsiteX157" fmla="*/ 1409185 w 4063618"/>
              <a:gd name="connsiteY157" fmla="*/ 529972 h 853153"/>
              <a:gd name="connsiteX158" fmla="*/ 1409185 w 4063618"/>
              <a:gd name="connsiteY158" fmla="*/ 536852 h 853153"/>
              <a:gd name="connsiteX159" fmla="*/ 1435021 w 4063618"/>
              <a:gd name="connsiteY159" fmla="*/ 536852 h 853153"/>
              <a:gd name="connsiteX160" fmla="*/ 1435021 w 4063618"/>
              <a:gd name="connsiteY160" fmla="*/ 543732 h 853153"/>
              <a:gd name="connsiteX161" fmla="*/ 1438431 w 4063618"/>
              <a:gd name="connsiteY161" fmla="*/ 543732 h 853153"/>
              <a:gd name="connsiteX162" fmla="*/ 1438431 w 4063618"/>
              <a:gd name="connsiteY162" fmla="*/ 550613 h 853153"/>
              <a:gd name="connsiteX163" fmla="*/ 1440267 w 4063618"/>
              <a:gd name="connsiteY163" fmla="*/ 550613 h 853153"/>
              <a:gd name="connsiteX164" fmla="*/ 1440267 w 4063618"/>
              <a:gd name="connsiteY164" fmla="*/ 557493 h 853153"/>
              <a:gd name="connsiteX165" fmla="*/ 1483414 w 4063618"/>
              <a:gd name="connsiteY165" fmla="*/ 557493 h 853153"/>
              <a:gd name="connsiteX166" fmla="*/ 1483414 w 4063618"/>
              <a:gd name="connsiteY166" fmla="*/ 564373 h 853153"/>
              <a:gd name="connsiteX167" fmla="*/ 1498890 w 4063618"/>
              <a:gd name="connsiteY167" fmla="*/ 564373 h 853153"/>
              <a:gd name="connsiteX168" fmla="*/ 1498890 w 4063618"/>
              <a:gd name="connsiteY168" fmla="*/ 571062 h 853153"/>
              <a:gd name="connsiteX169" fmla="*/ 1510955 w 4063618"/>
              <a:gd name="connsiteY169" fmla="*/ 571062 h 853153"/>
              <a:gd name="connsiteX170" fmla="*/ 1510955 w 4063618"/>
              <a:gd name="connsiteY170" fmla="*/ 577943 h 853153"/>
              <a:gd name="connsiteX171" fmla="*/ 1514365 w 4063618"/>
              <a:gd name="connsiteY171" fmla="*/ 577943 h 853153"/>
              <a:gd name="connsiteX172" fmla="*/ 1514365 w 4063618"/>
              <a:gd name="connsiteY172" fmla="*/ 584823 h 853153"/>
              <a:gd name="connsiteX173" fmla="*/ 1536923 w 4063618"/>
              <a:gd name="connsiteY173" fmla="*/ 584823 h 853153"/>
              <a:gd name="connsiteX174" fmla="*/ 1540201 w 4063618"/>
              <a:gd name="connsiteY174" fmla="*/ 584823 h 853153"/>
              <a:gd name="connsiteX175" fmla="*/ 1540201 w 4063618"/>
              <a:gd name="connsiteY175" fmla="*/ 591703 h 853153"/>
              <a:gd name="connsiteX176" fmla="*/ 1611021 w 4063618"/>
              <a:gd name="connsiteY176" fmla="*/ 591703 h 853153"/>
              <a:gd name="connsiteX177" fmla="*/ 1611021 w 4063618"/>
              <a:gd name="connsiteY177" fmla="*/ 598583 h 853153"/>
              <a:gd name="connsiteX178" fmla="*/ 1614431 w 4063618"/>
              <a:gd name="connsiteY178" fmla="*/ 598583 h 853153"/>
              <a:gd name="connsiteX179" fmla="*/ 1614431 w 4063618"/>
              <a:gd name="connsiteY179" fmla="*/ 605464 h 853153"/>
              <a:gd name="connsiteX180" fmla="*/ 1631743 w 4063618"/>
              <a:gd name="connsiteY180" fmla="*/ 605464 h 853153"/>
              <a:gd name="connsiteX181" fmla="*/ 1631743 w 4063618"/>
              <a:gd name="connsiteY181" fmla="*/ 612344 h 853153"/>
              <a:gd name="connsiteX182" fmla="*/ 1659284 w 4063618"/>
              <a:gd name="connsiteY182" fmla="*/ 612344 h 853153"/>
              <a:gd name="connsiteX183" fmla="*/ 1736923 w 4063618"/>
              <a:gd name="connsiteY183" fmla="*/ 612344 h 853153"/>
              <a:gd name="connsiteX184" fmla="*/ 1736923 w 4063618"/>
              <a:gd name="connsiteY184" fmla="*/ 619224 h 853153"/>
              <a:gd name="connsiteX185" fmla="*/ 1742038 w 4063618"/>
              <a:gd name="connsiteY185" fmla="*/ 619224 h 853153"/>
              <a:gd name="connsiteX186" fmla="*/ 1742038 w 4063618"/>
              <a:gd name="connsiteY186" fmla="*/ 626104 h 853153"/>
              <a:gd name="connsiteX187" fmla="*/ 1847219 w 4063618"/>
              <a:gd name="connsiteY187" fmla="*/ 626104 h 853153"/>
              <a:gd name="connsiteX188" fmla="*/ 1847219 w 4063618"/>
              <a:gd name="connsiteY188" fmla="*/ 633176 h 853153"/>
              <a:gd name="connsiteX189" fmla="*/ 1852465 w 4063618"/>
              <a:gd name="connsiteY189" fmla="*/ 633176 h 853153"/>
              <a:gd name="connsiteX190" fmla="*/ 1852465 w 4063618"/>
              <a:gd name="connsiteY190" fmla="*/ 640056 h 853153"/>
              <a:gd name="connsiteX191" fmla="*/ 1978367 w 4063618"/>
              <a:gd name="connsiteY191" fmla="*/ 640056 h 853153"/>
              <a:gd name="connsiteX192" fmla="*/ 1978367 w 4063618"/>
              <a:gd name="connsiteY192" fmla="*/ 646936 h 853153"/>
              <a:gd name="connsiteX193" fmla="*/ 2018104 w 4063618"/>
              <a:gd name="connsiteY193" fmla="*/ 646936 h 853153"/>
              <a:gd name="connsiteX194" fmla="*/ 2018104 w 4063618"/>
              <a:gd name="connsiteY194" fmla="*/ 653817 h 853153"/>
              <a:gd name="connsiteX195" fmla="*/ 2049055 w 4063618"/>
              <a:gd name="connsiteY195" fmla="*/ 653817 h 853153"/>
              <a:gd name="connsiteX196" fmla="*/ 2052465 w 4063618"/>
              <a:gd name="connsiteY196" fmla="*/ 653817 h 853153"/>
              <a:gd name="connsiteX197" fmla="*/ 2074892 w 4063618"/>
              <a:gd name="connsiteY197" fmla="*/ 653817 h 853153"/>
              <a:gd name="connsiteX198" fmla="*/ 2074892 w 4063618"/>
              <a:gd name="connsiteY198" fmla="*/ 660888 h 853153"/>
              <a:gd name="connsiteX199" fmla="*/ 2116334 w 4063618"/>
              <a:gd name="connsiteY199" fmla="*/ 660888 h 853153"/>
              <a:gd name="connsiteX200" fmla="*/ 2116334 w 4063618"/>
              <a:gd name="connsiteY200" fmla="*/ 667959 h 853153"/>
              <a:gd name="connsiteX201" fmla="*/ 2140597 w 4063618"/>
              <a:gd name="connsiteY201" fmla="*/ 667959 h 853153"/>
              <a:gd name="connsiteX202" fmla="*/ 2140597 w 4063618"/>
              <a:gd name="connsiteY202" fmla="*/ 675031 h 853153"/>
              <a:gd name="connsiteX203" fmla="*/ 2147416 w 4063618"/>
              <a:gd name="connsiteY203" fmla="*/ 675031 h 853153"/>
              <a:gd name="connsiteX204" fmla="*/ 2147416 w 4063618"/>
              <a:gd name="connsiteY204" fmla="*/ 681911 h 853153"/>
              <a:gd name="connsiteX205" fmla="*/ 2180203 w 4063618"/>
              <a:gd name="connsiteY205" fmla="*/ 681911 h 853153"/>
              <a:gd name="connsiteX206" fmla="*/ 2180203 w 4063618"/>
              <a:gd name="connsiteY206" fmla="*/ 688982 h 853153"/>
              <a:gd name="connsiteX207" fmla="*/ 2235417 w 4063618"/>
              <a:gd name="connsiteY207" fmla="*/ 688982 h 853153"/>
              <a:gd name="connsiteX208" fmla="*/ 2331941 w 4063618"/>
              <a:gd name="connsiteY208" fmla="*/ 688982 h 853153"/>
              <a:gd name="connsiteX209" fmla="*/ 2331941 w 4063618"/>
              <a:gd name="connsiteY209" fmla="*/ 696054 h 853153"/>
              <a:gd name="connsiteX210" fmla="*/ 2337188 w 4063618"/>
              <a:gd name="connsiteY210" fmla="*/ 696054 h 853153"/>
              <a:gd name="connsiteX211" fmla="*/ 2337188 w 4063618"/>
              <a:gd name="connsiteY211" fmla="*/ 703125 h 853153"/>
              <a:gd name="connsiteX212" fmla="*/ 2392270 w 4063618"/>
              <a:gd name="connsiteY212" fmla="*/ 703125 h 853153"/>
              <a:gd name="connsiteX213" fmla="*/ 2392270 w 4063618"/>
              <a:gd name="connsiteY213" fmla="*/ 710197 h 853153"/>
              <a:gd name="connsiteX214" fmla="*/ 2419942 w 4063618"/>
              <a:gd name="connsiteY214" fmla="*/ 710197 h 853153"/>
              <a:gd name="connsiteX215" fmla="*/ 2425057 w 4063618"/>
              <a:gd name="connsiteY215" fmla="*/ 710197 h 853153"/>
              <a:gd name="connsiteX216" fmla="*/ 2425057 w 4063618"/>
              <a:gd name="connsiteY216" fmla="*/ 717459 h 853153"/>
              <a:gd name="connsiteX217" fmla="*/ 2450893 w 4063618"/>
              <a:gd name="connsiteY217" fmla="*/ 717459 h 853153"/>
              <a:gd name="connsiteX218" fmla="*/ 2485516 w 4063618"/>
              <a:gd name="connsiteY218" fmla="*/ 717459 h 853153"/>
              <a:gd name="connsiteX219" fmla="*/ 2485516 w 4063618"/>
              <a:gd name="connsiteY219" fmla="*/ 724531 h 853153"/>
              <a:gd name="connsiteX220" fmla="*/ 2513188 w 4063618"/>
              <a:gd name="connsiteY220" fmla="*/ 724531 h 853153"/>
              <a:gd name="connsiteX221" fmla="*/ 2513188 w 4063618"/>
              <a:gd name="connsiteY221" fmla="*/ 731793 h 853153"/>
              <a:gd name="connsiteX222" fmla="*/ 2614828 w 4063618"/>
              <a:gd name="connsiteY222" fmla="*/ 731793 h 853153"/>
              <a:gd name="connsiteX223" fmla="*/ 2644205 w 4063618"/>
              <a:gd name="connsiteY223" fmla="*/ 731793 h 853153"/>
              <a:gd name="connsiteX224" fmla="*/ 2644205 w 4063618"/>
              <a:gd name="connsiteY224" fmla="*/ 739056 h 853153"/>
              <a:gd name="connsiteX225" fmla="*/ 2726959 w 4063618"/>
              <a:gd name="connsiteY225" fmla="*/ 739056 h 853153"/>
              <a:gd name="connsiteX226" fmla="*/ 2768402 w 4063618"/>
              <a:gd name="connsiteY226" fmla="*/ 739056 h 853153"/>
              <a:gd name="connsiteX227" fmla="*/ 2820074 w 4063618"/>
              <a:gd name="connsiteY227" fmla="*/ 739056 h 853153"/>
              <a:gd name="connsiteX228" fmla="*/ 2821779 w 4063618"/>
              <a:gd name="connsiteY228" fmla="*/ 739056 h 853153"/>
              <a:gd name="connsiteX229" fmla="*/ 2840795 w 4063618"/>
              <a:gd name="connsiteY229" fmla="*/ 739056 h 853153"/>
              <a:gd name="connsiteX230" fmla="*/ 2840795 w 4063618"/>
              <a:gd name="connsiteY230" fmla="*/ 746509 h 853153"/>
              <a:gd name="connsiteX231" fmla="*/ 2880402 w 4063618"/>
              <a:gd name="connsiteY231" fmla="*/ 746509 h 853153"/>
              <a:gd name="connsiteX232" fmla="*/ 2887353 w 4063618"/>
              <a:gd name="connsiteY232" fmla="*/ 746509 h 853153"/>
              <a:gd name="connsiteX233" fmla="*/ 2890763 w 4063618"/>
              <a:gd name="connsiteY233" fmla="*/ 746509 h 853153"/>
              <a:gd name="connsiteX234" fmla="*/ 2897714 w 4063618"/>
              <a:gd name="connsiteY234" fmla="*/ 746509 h 853153"/>
              <a:gd name="connsiteX235" fmla="*/ 2899419 w 4063618"/>
              <a:gd name="connsiteY235" fmla="*/ 746509 h 853153"/>
              <a:gd name="connsiteX236" fmla="*/ 2909779 w 4063618"/>
              <a:gd name="connsiteY236" fmla="*/ 746509 h 853153"/>
              <a:gd name="connsiteX237" fmla="*/ 2911616 w 4063618"/>
              <a:gd name="connsiteY237" fmla="*/ 746509 h 853153"/>
              <a:gd name="connsiteX238" fmla="*/ 2913189 w 4063618"/>
              <a:gd name="connsiteY238" fmla="*/ 746509 h 853153"/>
              <a:gd name="connsiteX239" fmla="*/ 2913189 w 4063618"/>
              <a:gd name="connsiteY239" fmla="*/ 754536 h 853153"/>
              <a:gd name="connsiteX240" fmla="*/ 2915025 w 4063618"/>
              <a:gd name="connsiteY240" fmla="*/ 754536 h 853153"/>
              <a:gd name="connsiteX241" fmla="*/ 2933911 w 4063618"/>
              <a:gd name="connsiteY241" fmla="*/ 754536 h 853153"/>
              <a:gd name="connsiteX242" fmla="*/ 2933911 w 4063618"/>
              <a:gd name="connsiteY242" fmla="*/ 762754 h 853153"/>
              <a:gd name="connsiteX243" fmla="*/ 2945976 w 4063618"/>
              <a:gd name="connsiteY243" fmla="*/ 762754 h 853153"/>
              <a:gd name="connsiteX244" fmla="*/ 2949386 w 4063618"/>
              <a:gd name="connsiteY244" fmla="*/ 762754 h 853153"/>
              <a:gd name="connsiteX245" fmla="*/ 2958173 w 4063618"/>
              <a:gd name="connsiteY245" fmla="*/ 762754 h 853153"/>
              <a:gd name="connsiteX246" fmla="*/ 2961583 w 4063618"/>
              <a:gd name="connsiteY246" fmla="*/ 762754 h 853153"/>
              <a:gd name="connsiteX247" fmla="*/ 2971812 w 4063618"/>
              <a:gd name="connsiteY247" fmla="*/ 762754 h 853153"/>
              <a:gd name="connsiteX248" fmla="*/ 2984009 w 4063618"/>
              <a:gd name="connsiteY248" fmla="*/ 762754 h 853153"/>
              <a:gd name="connsiteX249" fmla="*/ 2987419 w 4063618"/>
              <a:gd name="connsiteY249" fmla="*/ 762754 h 853153"/>
              <a:gd name="connsiteX250" fmla="*/ 2997780 w 4063618"/>
              <a:gd name="connsiteY250" fmla="*/ 762754 h 853153"/>
              <a:gd name="connsiteX251" fmla="*/ 2997780 w 4063618"/>
              <a:gd name="connsiteY251" fmla="*/ 771546 h 853153"/>
              <a:gd name="connsiteX252" fmla="*/ 3004599 w 4063618"/>
              <a:gd name="connsiteY252" fmla="*/ 771546 h 853153"/>
              <a:gd name="connsiteX253" fmla="*/ 3011550 w 4063618"/>
              <a:gd name="connsiteY253" fmla="*/ 771546 h 853153"/>
              <a:gd name="connsiteX254" fmla="*/ 3013255 w 4063618"/>
              <a:gd name="connsiteY254" fmla="*/ 771546 h 853153"/>
              <a:gd name="connsiteX255" fmla="*/ 3032272 w 4063618"/>
              <a:gd name="connsiteY255" fmla="*/ 771546 h 853153"/>
              <a:gd name="connsiteX256" fmla="*/ 3044337 w 4063618"/>
              <a:gd name="connsiteY256" fmla="*/ 771546 h 853153"/>
              <a:gd name="connsiteX257" fmla="*/ 3049583 w 4063618"/>
              <a:gd name="connsiteY257" fmla="*/ 771546 h 853153"/>
              <a:gd name="connsiteX258" fmla="*/ 3054698 w 4063618"/>
              <a:gd name="connsiteY258" fmla="*/ 771546 h 853153"/>
              <a:gd name="connsiteX259" fmla="*/ 3075419 w 4063618"/>
              <a:gd name="connsiteY259" fmla="*/ 771546 h 853153"/>
              <a:gd name="connsiteX260" fmla="*/ 3077124 w 4063618"/>
              <a:gd name="connsiteY260" fmla="*/ 771546 h 853153"/>
              <a:gd name="connsiteX261" fmla="*/ 3080534 w 4063618"/>
              <a:gd name="connsiteY261" fmla="*/ 771546 h 853153"/>
              <a:gd name="connsiteX262" fmla="*/ 3082239 w 4063618"/>
              <a:gd name="connsiteY262" fmla="*/ 771546 h 853153"/>
              <a:gd name="connsiteX263" fmla="*/ 3092599 w 4063618"/>
              <a:gd name="connsiteY263" fmla="*/ 771546 h 853153"/>
              <a:gd name="connsiteX264" fmla="*/ 3096141 w 4063618"/>
              <a:gd name="connsiteY264" fmla="*/ 771546 h 853153"/>
              <a:gd name="connsiteX265" fmla="*/ 3097714 w 4063618"/>
              <a:gd name="connsiteY265" fmla="*/ 771546 h 853153"/>
              <a:gd name="connsiteX266" fmla="*/ 3099551 w 4063618"/>
              <a:gd name="connsiteY266" fmla="*/ 771546 h 853153"/>
              <a:gd name="connsiteX267" fmla="*/ 3099551 w 4063618"/>
              <a:gd name="connsiteY267" fmla="*/ 781866 h 853153"/>
              <a:gd name="connsiteX268" fmla="*/ 3106501 w 4063618"/>
              <a:gd name="connsiteY268" fmla="*/ 781866 h 853153"/>
              <a:gd name="connsiteX269" fmla="*/ 3108075 w 4063618"/>
              <a:gd name="connsiteY269" fmla="*/ 781866 h 853153"/>
              <a:gd name="connsiteX270" fmla="*/ 3108075 w 4063618"/>
              <a:gd name="connsiteY270" fmla="*/ 792569 h 853153"/>
              <a:gd name="connsiteX271" fmla="*/ 3111616 w 4063618"/>
              <a:gd name="connsiteY271" fmla="*/ 792569 h 853153"/>
              <a:gd name="connsiteX272" fmla="*/ 3115026 w 4063618"/>
              <a:gd name="connsiteY272" fmla="*/ 792569 h 853153"/>
              <a:gd name="connsiteX273" fmla="*/ 3125386 w 4063618"/>
              <a:gd name="connsiteY273" fmla="*/ 792569 h 853153"/>
              <a:gd name="connsiteX274" fmla="*/ 3128928 w 4063618"/>
              <a:gd name="connsiteY274" fmla="*/ 792569 h 853153"/>
              <a:gd name="connsiteX275" fmla="*/ 3149649 w 4063618"/>
              <a:gd name="connsiteY275" fmla="*/ 792569 h 853153"/>
              <a:gd name="connsiteX276" fmla="*/ 3159878 w 4063618"/>
              <a:gd name="connsiteY276" fmla="*/ 792569 h 853153"/>
              <a:gd name="connsiteX277" fmla="*/ 3168534 w 4063618"/>
              <a:gd name="connsiteY277" fmla="*/ 792569 h 853153"/>
              <a:gd name="connsiteX278" fmla="*/ 3175485 w 4063618"/>
              <a:gd name="connsiteY278" fmla="*/ 792569 h 853153"/>
              <a:gd name="connsiteX279" fmla="*/ 3187551 w 4063618"/>
              <a:gd name="connsiteY279" fmla="*/ 792569 h 853153"/>
              <a:gd name="connsiteX280" fmla="*/ 3189124 w 4063618"/>
              <a:gd name="connsiteY280" fmla="*/ 792569 h 853153"/>
              <a:gd name="connsiteX281" fmla="*/ 3190960 w 4063618"/>
              <a:gd name="connsiteY281" fmla="*/ 792569 h 853153"/>
              <a:gd name="connsiteX282" fmla="*/ 3194370 w 4063618"/>
              <a:gd name="connsiteY282" fmla="*/ 792569 h 853153"/>
              <a:gd name="connsiteX283" fmla="*/ 3196075 w 4063618"/>
              <a:gd name="connsiteY283" fmla="*/ 792569 h 853153"/>
              <a:gd name="connsiteX284" fmla="*/ 3201321 w 4063618"/>
              <a:gd name="connsiteY284" fmla="*/ 792569 h 853153"/>
              <a:gd name="connsiteX285" fmla="*/ 3204731 w 4063618"/>
              <a:gd name="connsiteY285" fmla="*/ 792569 h 853153"/>
              <a:gd name="connsiteX286" fmla="*/ 3213387 w 4063618"/>
              <a:gd name="connsiteY286" fmla="*/ 792569 h 853153"/>
              <a:gd name="connsiteX287" fmla="*/ 3215092 w 4063618"/>
              <a:gd name="connsiteY287" fmla="*/ 792569 h 853153"/>
              <a:gd name="connsiteX288" fmla="*/ 3237518 w 4063618"/>
              <a:gd name="connsiteY288" fmla="*/ 792569 h 853153"/>
              <a:gd name="connsiteX289" fmla="*/ 3247879 w 4063618"/>
              <a:gd name="connsiteY289" fmla="*/ 792569 h 853153"/>
              <a:gd name="connsiteX290" fmla="*/ 3259944 w 4063618"/>
              <a:gd name="connsiteY290" fmla="*/ 792569 h 853153"/>
              <a:gd name="connsiteX291" fmla="*/ 3272010 w 4063618"/>
              <a:gd name="connsiteY291" fmla="*/ 792569 h 853153"/>
              <a:gd name="connsiteX292" fmla="*/ 3292731 w 4063618"/>
              <a:gd name="connsiteY292" fmla="*/ 792569 h 853153"/>
              <a:gd name="connsiteX293" fmla="*/ 3297977 w 4063618"/>
              <a:gd name="connsiteY293" fmla="*/ 792569 h 853153"/>
              <a:gd name="connsiteX294" fmla="*/ 3297977 w 4063618"/>
              <a:gd name="connsiteY294" fmla="*/ 807858 h 853153"/>
              <a:gd name="connsiteX295" fmla="*/ 3303092 w 4063618"/>
              <a:gd name="connsiteY295" fmla="*/ 807858 h 853153"/>
              <a:gd name="connsiteX296" fmla="*/ 3334174 w 4063618"/>
              <a:gd name="connsiteY296" fmla="*/ 807858 h 853153"/>
              <a:gd name="connsiteX297" fmla="*/ 3335879 w 4063618"/>
              <a:gd name="connsiteY297" fmla="*/ 807858 h 853153"/>
              <a:gd name="connsiteX298" fmla="*/ 3335879 w 4063618"/>
              <a:gd name="connsiteY298" fmla="*/ 823912 h 853153"/>
              <a:gd name="connsiteX299" fmla="*/ 3344404 w 4063618"/>
              <a:gd name="connsiteY299" fmla="*/ 823912 h 853153"/>
              <a:gd name="connsiteX300" fmla="*/ 3346240 w 4063618"/>
              <a:gd name="connsiteY300" fmla="*/ 823912 h 853153"/>
              <a:gd name="connsiteX301" fmla="*/ 3361715 w 4063618"/>
              <a:gd name="connsiteY301" fmla="*/ 823912 h 853153"/>
              <a:gd name="connsiteX302" fmla="*/ 3368535 w 4063618"/>
              <a:gd name="connsiteY302" fmla="*/ 823912 h 853153"/>
              <a:gd name="connsiteX303" fmla="*/ 3372076 w 4063618"/>
              <a:gd name="connsiteY303" fmla="*/ 823912 h 853153"/>
              <a:gd name="connsiteX304" fmla="*/ 3384010 w 4063618"/>
              <a:gd name="connsiteY304" fmla="*/ 823912 h 853153"/>
              <a:gd name="connsiteX305" fmla="*/ 3396207 w 4063618"/>
              <a:gd name="connsiteY305" fmla="*/ 823912 h 853153"/>
              <a:gd name="connsiteX306" fmla="*/ 3406568 w 4063618"/>
              <a:gd name="connsiteY306" fmla="*/ 823912 h 853153"/>
              <a:gd name="connsiteX307" fmla="*/ 3420338 w 4063618"/>
              <a:gd name="connsiteY307" fmla="*/ 823912 h 853153"/>
              <a:gd name="connsiteX308" fmla="*/ 3456535 w 4063618"/>
              <a:gd name="connsiteY308" fmla="*/ 823912 h 853153"/>
              <a:gd name="connsiteX309" fmla="*/ 3468732 w 4063618"/>
              <a:gd name="connsiteY309" fmla="*/ 823912 h 853153"/>
              <a:gd name="connsiteX310" fmla="*/ 3479092 w 4063618"/>
              <a:gd name="connsiteY310" fmla="*/ 823912 h 853153"/>
              <a:gd name="connsiteX311" fmla="*/ 3480666 w 4063618"/>
              <a:gd name="connsiteY311" fmla="*/ 823912 h 853153"/>
              <a:gd name="connsiteX312" fmla="*/ 3482502 w 4063618"/>
              <a:gd name="connsiteY312" fmla="*/ 823912 h 853153"/>
              <a:gd name="connsiteX313" fmla="*/ 3487617 w 4063618"/>
              <a:gd name="connsiteY313" fmla="*/ 823912 h 853153"/>
              <a:gd name="connsiteX314" fmla="*/ 3492863 w 4063618"/>
              <a:gd name="connsiteY314" fmla="*/ 823912 h 853153"/>
              <a:gd name="connsiteX315" fmla="*/ 3497978 w 4063618"/>
              <a:gd name="connsiteY315" fmla="*/ 823912 h 853153"/>
              <a:gd name="connsiteX316" fmla="*/ 3503093 w 4063618"/>
              <a:gd name="connsiteY316" fmla="*/ 823912 h 853153"/>
              <a:gd name="connsiteX317" fmla="*/ 3515289 w 4063618"/>
              <a:gd name="connsiteY317" fmla="*/ 823912 h 853153"/>
              <a:gd name="connsiteX318" fmla="*/ 3522109 w 4063618"/>
              <a:gd name="connsiteY318" fmla="*/ 823912 h 853153"/>
              <a:gd name="connsiteX319" fmla="*/ 3523814 w 4063618"/>
              <a:gd name="connsiteY319" fmla="*/ 823912 h 853153"/>
              <a:gd name="connsiteX320" fmla="*/ 3527224 w 4063618"/>
              <a:gd name="connsiteY320" fmla="*/ 823912 h 853153"/>
              <a:gd name="connsiteX321" fmla="*/ 3551486 w 4063618"/>
              <a:gd name="connsiteY321" fmla="*/ 823912 h 853153"/>
              <a:gd name="connsiteX322" fmla="*/ 3575486 w 4063618"/>
              <a:gd name="connsiteY322" fmla="*/ 823912 h 853153"/>
              <a:gd name="connsiteX323" fmla="*/ 3575486 w 4063618"/>
              <a:gd name="connsiteY323" fmla="*/ 853153 h 853153"/>
              <a:gd name="connsiteX324" fmla="*/ 3618634 w 4063618"/>
              <a:gd name="connsiteY324" fmla="*/ 853153 h 853153"/>
              <a:gd name="connsiteX325" fmla="*/ 3686044 w 4063618"/>
              <a:gd name="connsiteY325" fmla="*/ 853153 h 853153"/>
              <a:gd name="connsiteX326" fmla="*/ 3696405 w 4063618"/>
              <a:gd name="connsiteY326" fmla="*/ 853153 h 853153"/>
              <a:gd name="connsiteX327" fmla="*/ 3704929 w 4063618"/>
              <a:gd name="connsiteY327" fmla="*/ 853153 h 853153"/>
              <a:gd name="connsiteX328" fmla="*/ 3710175 w 4063618"/>
              <a:gd name="connsiteY328" fmla="*/ 853153 h 853153"/>
              <a:gd name="connsiteX329" fmla="*/ 3734175 w 4063618"/>
              <a:gd name="connsiteY329" fmla="*/ 853153 h 853153"/>
              <a:gd name="connsiteX330" fmla="*/ 3744536 w 4063618"/>
              <a:gd name="connsiteY330" fmla="*/ 853153 h 853153"/>
              <a:gd name="connsiteX331" fmla="*/ 3746372 w 4063618"/>
              <a:gd name="connsiteY331" fmla="*/ 853153 h 853153"/>
              <a:gd name="connsiteX332" fmla="*/ 3749782 w 4063618"/>
              <a:gd name="connsiteY332" fmla="*/ 853153 h 853153"/>
              <a:gd name="connsiteX333" fmla="*/ 3758438 w 4063618"/>
              <a:gd name="connsiteY333" fmla="*/ 853153 h 853153"/>
              <a:gd name="connsiteX334" fmla="*/ 3761847 w 4063618"/>
              <a:gd name="connsiteY334" fmla="*/ 853153 h 853153"/>
              <a:gd name="connsiteX335" fmla="*/ 3765389 w 4063618"/>
              <a:gd name="connsiteY335" fmla="*/ 853153 h 853153"/>
              <a:gd name="connsiteX336" fmla="*/ 3768798 w 4063618"/>
              <a:gd name="connsiteY336" fmla="*/ 853153 h 853153"/>
              <a:gd name="connsiteX337" fmla="*/ 3770503 w 4063618"/>
              <a:gd name="connsiteY337" fmla="*/ 853153 h 853153"/>
              <a:gd name="connsiteX338" fmla="*/ 3773913 w 4063618"/>
              <a:gd name="connsiteY338" fmla="*/ 853153 h 853153"/>
              <a:gd name="connsiteX339" fmla="*/ 3792929 w 4063618"/>
              <a:gd name="connsiteY339" fmla="*/ 853153 h 853153"/>
              <a:gd name="connsiteX340" fmla="*/ 3804995 w 4063618"/>
              <a:gd name="connsiteY340" fmla="*/ 853153 h 853153"/>
              <a:gd name="connsiteX341" fmla="*/ 3822307 w 4063618"/>
              <a:gd name="connsiteY341" fmla="*/ 853153 h 853153"/>
              <a:gd name="connsiteX342" fmla="*/ 3865323 w 4063618"/>
              <a:gd name="connsiteY342" fmla="*/ 853153 h 853153"/>
              <a:gd name="connsiteX343" fmla="*/ 3879094 w 4063618"/>
              <a:gd name="connsiteY343" fmla="*/ 853153 h 853153"/>
              <a:gd name="connsiteX344" fmla="*/ 3891290 w 4063618"/>
              <a:gd name="connsiteY344" fmla="*/ 853153 h 853153"/>
              <a:gd name="connsiteX345" fmla="*/ 3977455 w 4063618"/>
              <a:gd name="connsiteY345" fmla="*/ 853153 h 853153"/>
              <a:gd name="connsiteX346" fmla="*/ 4010242 w 4063618"/>
              <a:gd name="connsiteY346" fmla="*/ 853153 h 853153"/>
              <a:gd name="connsiteX347" fmla="*/ 4063619 w 4063618"/>
              <a:gd name="connsiteY347" fmla="*/ 853153 h 853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</a:cxnLst>
            <a:rect l="l" t="t" r="r" b="b"/>
            <a:pathLst>
              <a:path w="4063618" h="853153">
                <a:moveTo>
                  <a:pt x="0" y="0"/>
                </a:moveTo>
                <a:lnTo>
                  <a:pt x="1705" y="0"/>
                </a:lnTo>
                <a:lnTo>
                  <a:pt x="51803" y="0"/>
                </a:lnTo>
                <a:lnTo>
                  <a:pt x="51803" y="6307"/>
                </a:lnTo>
                <a:lnTo>
                  <a:pt x="62164" y="6307"/>
                </a:lnTo>
                <a:lnTo>
                  <a:pt x="65574" y="6307"/>
                </a:lnTo>
                <a:lnTo>
                  <a:pt x="96525" y="6307"/>
                </a:lnTo>
                <a:lnTo>
                  <a:pt x="98361" y="6307"/>
                </a:lnTo>
                <a:lnTo>
                  <a:pt x="99935" y="6307"/>
                </a:lnTo>
                <a:lnTo>
                  <a:pt x="144918" y="6307"/>
                </a:lnTo>
                <a:lnTo>
                  <a:pt x="144918" y="12805"/>
                </a:lnTo>
                <a:lnTo>
                  <a:pt x="170755" y="12805"/>
                </a:lnTo>
                <a:lnTo>
                  <a:pt x="177705" y="12805"/>
                </a:lnTo>
                <a:lnTo>
                  <a:pt x="200132" y="12805"/>
                </a:lnTo>
                <a:lnTo>
                  <a:pt x="243148" y="12805"/>
                </a:lnTo>
                <a:lnTo>
                  <a:pt x="243148" y="19303"/>
                </a:lnTo>
                <a:lnTo>
                  <a:pt x="251804" y="19303"/>
                </a:lnTo>
                <a:lnTo>
                  <a:pt x="286296" y="19303"/>
                </a:lnTo>
                <a:lnTo>
                  <a:pt x="286296" y="25801"/>
                </a:lnTo>
                <a:lnTo>
                  <a:pt x="288001" y="25801"/>
                </a:lnTo>
                <a:lnTo>
                  <a:pt x="288001" y="32490"/>
                </a:lnTo>
                <a:lnTo>
                  <a:pt x="291411" y="32490"/>
                </a:lnTo>
                <a:lnTo>
                  <a:pt x="291411" y="38988"/>
                </a:lnTo>
                <a:lnTo>
                  <a:pt x="339804" y="38988"/>
                </a:lnTo>
                <a:lnTo>
                  <a:pt x="362231" y="38988"/>
                </a:lnTo>
                <a:lnTo>
                  <a:pt x="388067" y="38988"/>
                </a:lnTo>
                <a:lnTo>
                  <a:pt x="388067" y="45677"/>
                </a:lnTo>
                <a:lnTo>
                  <a:pt x="393182" y="45677"/>
                </a:lnTo>
                <a:lnTo>
                  <a:pt x="393182" y="52366"/>
                </a:lnTo>
                <a:lnTo>
                  <a:pt x="415608" y="52366"/>
                </a:lnTo>
                <a:lnTo>
                  <a:pt x="415608" y="59056"/>
                </a:lnTo>
                <a:lnTo>
                  <a:pt x="470952" y="59056"/>
                </a:lnTo>
                <a:lnTo>
                  <a:pt x="470952" y="65745"/>
                </a:lnTo>
                <a:lnTo>
                  <a:pt x="493247" y="65745"/>
                </a:lnTo>
                <a:lnTo>
                  <a:pt x="493247" y="72434"/>
                </a:lnTo>
                <a:lnTo>
                  <a:pt x="541510" y="72434"/>
                </a:lnTo>
                <a:lnTo>
                  <a:pt x="541510" y="78932"/>
                </a:lnTo>
                <a:lnTo>
                  <a:pt x="550297" y="78932"/>
                </a:lnTo>
                <a:lnTo>
                  <a:pt x="550297" y="85621"/>
                </a:lnTo>
                <a:lnTo>
                  <a:pt x="570887" y="85621"/>
                </a:lnTo>
                <a:lnTo>
                  <a:pt x="570887" y="92310"/>
                </a:lnTo>
                <a:lnTo>
                  <a:pt x="577707" y="92310"/>
                </a:lnTo>
                <a:lnTo>
                  <a:pt x="577707" y="105689"/>
                </a:lnTo>
                <a:lnTo>
                  <a:pt x="579543" y="105689"/>
                </a:lnTo>
                <a:lnTo>
                  <a:pt x="579543" y="112378"/>
                </a:lnTo>
                <a:lnTo>
                  <a:pt x="581248" y="112378"/>
                </a:lnTo>
                <a:lnTo>
                  <a:pt x="581248" y="119067"/>
                </a:lnTo>
                <a:lnTo>
                  <a:pt x="596854" y="119067"/>
                </a:lnTo>
                <a:lnTo>
                  <a:pt x="596854" y="125756"/>
                </a:lnTo>
                <a:lnTo>
                  <a:pt x="617445" y="125756"/>
                </a:lnTo>
                <a:lnTo>
                  <a:pt x="681314" y="125756"/>
                </a:lnTo>
                <a:lnTo>
                  <a:pt x="681314" y="132445"/>
                </a:lnTo>
                <a:lnTo>
                  <a:pt x="693379" y="132445"/>
                </a:lnTo>
                <a:lnTo>
                  <a:pt x="693379" y="139134"/>
                </a:lnTo>
                <a:lnTo>
                  <a:pt x="702035" y="139134"/>
                </a:lnTo>
                <a:lnTo>
                  <a:pt x="702035" y="145823"/>
                </a:lnTo>
                <a:lnTo>
                  <a:pt x="703740" y="145823"/>
                </a:lnTo>
                <a:lnTo>
                  <a:pt x="703740" y="152513"/>
                </a:lnTo>
                <a:lnTo>
                  <a:pt x="722625" y="152513"/>
                </a:lnTo>
                <a:lnTo>
                  <a:pt x="722625" y="159202"/>
                </a:lnTo>
                <a:lnTo>
                  <a:pt x="724461" y="159202"/>
                </a:lnTo>
                <a:lnTo>
                  <a:pt x="724461" y="165891"/>
                </a:lnTo>
                <a:lnTo>
                  <a:pt x="726035" y="165891"/>
                </a:lnTo>
                <a:lnTo>
                  <a:pt x="726035" y="172580"/>
                </a:lnTo>
                <a:lnTo>
                  <a:pt x="739937" y="172580"/>
                </a:lnTo>
                <a:lnTo>
                  <a:pt x="739937" y="179269"/>
                </a:lnTo>
                <a:lnTo>
                  <a:pt x="746888" y="179269"/>
                </a:lnTo>
                <a:lnTo>
                  <a:pt x="746888" y="185958"/>
                </a:lnTo>
                <a:lnTo>
                  <a:pt x="771019" y="185958"/>
                </a:lnTo>
                <a:lnTo>
                  <a:pt x="771019" y="192648"/>
                </a:lnTo>
                <a:lnTo>
                  <a:pt x="776134" y="192648"/>
                </a:lnTo>
                <a:lnTo>
                  <a:pt x="776134" y="199337"/>
                </a:lnTo>
                <a:lnTo>
                  <a:pt x="801970" y="199337"/>
                </a:lnTo>
                <a:lnTo>
                  <a:pt x="801970" y="206026"/>
                </a:lnTo>
                <a:lnTo>
                  <a:pt x="836593" y="206026"/>
                </a:lnTo>
                <a:lnTo>
                  <a:pt x="836593" y="219404"/>
                </a:lnTo>
                <a:lnTo>
                  <a:pt x="853773" y="219404"/>
                </a:lnTo>
                <a:lnTo>
                  <a:pt x="853773" y="226093"/>
                </a:lnTo>
                <a:lnTo>
                  <a:pt x="860724" y="226093"/>
                </a:lnTo>
                <a:lnTo>
                  <a:pt x="860724" y="232782"/>
                </a:lnTo>
                <a:lnTo>
                  <a:pt x="862429" y="232782"/>
                </a:lnTo>
                <a:lnTo>
                  <a:pt x="862429" y="239472"/>
                </a:lnTo>
                <a:lnTo>
                  <a:pt x="864134" y="239472"/>
                </a:lnTo>
                <a:lnTo>
                  <a:pt x="864134" y="253041"/>
                </a:lnTo>
                <a:lnTo>
                  <a:pt x="865839" y="253041"/>
                </a:lnTo>
                <a:lnTo>
                  <a:pt x="865839" y="259730"/>
                </a:lnTo>
                <a:lnTo>
                  <a:pt x="870953" y="259730"/>
                </a:lnTo>
                <a:lnTo>
                  <a:pt x="870953" y="279798"/>
                </a:lnTo>
                <a:lnTo>
                  <a:pt x="872790" y="279798"/>
                </a:lnTo>
                <a:lnTo>
                  <a:pt x="872790" y="293176"/>
                </a:lnTo>
                <a:lnTo>
                  <a:pt x="874363" y="293176"/>
                </a:lnTo>
                <a:lnTo>
                  <a:pt x="874363" y="299865"/>
                </a:lnTo>
                <a:lnTo>
                  <a:pt x="884855" y="299865"/>
                </a:lnTo>
                <a:lnTo>
                  <a:pt x="884855" y="306554"/>
                </a:lnTo>
                <a:lnTo>
                  <a:pt x="890101" y="306554"/>
                </a:lnTo>
                <a:lnTo>
                  <a:pt x="890101" y="313243"/>
                </a:lnTo>
                <a:lnTo>
                  <a:pt x="891675" y="313243"/>
                </a:lnTo>
                <a:lnTo>
                  <a:pt x="891675" y="319932"/>
                </a:lnTo>
                <a:lnTo>
                  <a:pt x="896921" y="319932"/>
                </a:lnTo>
                <a:lnTo>
                  <a:pt x="902036" y="319932"/>
                </a:lnTo>
                <a:lnTo>
                  <a:pt x="902036" y="326622"/>
                </a:lnTo>
                <a:lnTo>
                  <a:pt x="921052" y="326622"/>
                </a:lnTo>
                <a:lnTo>
                  <a:pt x="921052" y="340000"/>
                </a:lnTo>
                <a:lnTo>
                  <a:pt x="938232" y="340000"/>
                </a:lnTo>
                <a:lnTo>
                  <a:pt x="938232" y="346880"/>
                </a:lnTo>
                <a:lnTo>
                  <a:pt x="939937" y="346880"/>
                </a:lnTo>
                <a:lnTo>
                  <a:pt x="939937" y="353569"/>
                </a:lnTo>
                <a:lnTo>
                  <a:pt x="1003806" y="353569"/>
                </a:lnTo>
                <a:lnTo>
                  <a:pt x="1003806" y="366948"/>
                </a:lnTo>
                <a:lnTo>
                  <a:pt x="1007216" y="366948"/>
                </a:lnTo>
                <a:lnTo>
                  <a:pt x="1007216" y="373828"/>
                </a:lnTo>
                <a:lnTo>
                  <a:pt x="1009052" y="373828"/>
                </a:lnTo>
                <a:lnTo>
                  <a:pt x="1009052" y="380517"/>
                </a:lnTo>
                <a:lnTo>
                  <a:pt x="1012462" y="380517"/>
                </a:lnTo>
                <a:lnTo>
                  <a:pt x="1012462" y="387206"/>
                </a:lnTo>
                <a:lnTo>
                  <a:pt x="1022823" y="387206"/>
                </a:lnTo>
                <a:lnTo>
                  <a:pt x="1022823" y="393895"/>
                </a:lnTo>
                <a:lnTo>
                  <a:pt x="1024528" y="393895"/>
                </a:lnTo>
                <a:lnTo>
                  <a:pt x="1024528" y="400585"/>
                </a:lnTo>
                <a:lnTo>
                  <a:pt x="1026233" y="400585"/>
                </a:lnTo>
                <a:lnTo>
                  <a:pt x="1026233" y="407465"/>
                </a:lnTo>
                <a:lnTo>
                  <a:pt x="1034888" y="407465"/>
                </a:lnTo>
                <a:lnTo>
                  <a:pt x="1043544" y="407465"/>
                </a:lnTo>
                <a:lnTo>
                  <a:pt x="1043544" y="414154"/>
                </a:lnTo>
                <a:lnTo>
                  <a:pt x="1055610" y="414154"/>
                </a:lnTo>
                <a:lnTo>
                  <a:pt x="1055610" y="421034"/>
                </a:lnTo>
                <a:lnTo>
                  <a:pt x="1093512" y="421034"/>
                </a:lnTo>
                <a:lnTo>
                  <a:pt x="1140069" y="421034"/>
                </a:lnTo>
                <a:lnTo>
                  <a:pt x="1140069" y="427723"/>
                </a:lnTo>
                <a:lnTo>
                  <a:pt x="1150430" y="427723"/>
                </a:lnTo>
                <a:lnTo>
                  <a:pt x="1150430" y="434604"/>
                </a:lnTo>
                <a:lnTo>
                  <a:pt x="1160790" y="434604"/>
                </a:lnTo>
                <a:lnTo>
                  <a:pt x="1160790" y="441293"/>
                </a:lnTo>
                <a:lnTo>
                  <a:pt x="1162495" y="441293"/>
                </a:lnTo>
                <a:lnTo>
                  <a:pt x="1162495" y="454862"/>
                </a:lnTo>
                <a:lnTo>
                  <a:pt x="1174561" y="454862"/>
                </a:lnTo>
                <a:lnTo>
                  <a:pt x="1174561" y="461742"/>
                </a:lnTo>
                <a:lnTo>
                  <a:pt x="1183217" y="461742"/>
                </a:lnTo>
                <a:lnTo>
                  <a:pt x="1183217" y="468623"/>
                </a:lnTo>
                <a:lnTo>
                  <a:pt x="1188332" y="468623"/>
                </a:lnTo>
                <a:lnTo>
                  <a:pt x="1188332" y="475312"/>
                </a:lnTo>
                <a:lnTo>
                  <a:pt x="1197118" y="475312"/>
                </a:lnTo>
                <a:lnTo>
                  <a:pt x="1197118" y="482192"/>
                </a:lnTo>
                <a:lnTo>
                  <a:pt x="1202233" y="482192"/>
                </a:lnTo>
                <a:lnTo>
                  <a:pt x="1202233" y="489072"/>
                </a:lnTo>
                <a:lnTo>
                  <a:pt x="1212594" y="489072"/>
                </a:lnTo>
                <a:lnTo>
                  <a:pt x="1212594" y="495762"/>
                </a:lnTo>
                <a:lnTo>
                  <a:pt x="1222955" y="495762"/>
                </a:lnTo>
                <a:lnTo>
                  <a:pt x="1222955" y="502642"/>
                </a:lnTo>
                <a:lnTo>
                  <a:pt x="1269512" y="502642"/>
                </a:lnTo>
                <a:lnTo>
                  <a:pt x="1269512" y="509522"/>
                </a:lnTo>
                <a:lnTo>
                  <a:pt x="1335086" y="509522"/>
                </a:lnTo>
                <a:lnTo>
                  <a:pt x="1335086" y="516402"/>
                </a:lnTo>
                <a:lnTo>
                  <a:pt x="1345447" y="516402"/>
                </a:lnTo>
                <a:lnTo>
                  <a:pt x="1345447" y="523092"/>
                </a:lnTo>
                <a:lnTo>
                  <a:pt x="1348857" y="523092"/>
                </a:lnTo>
                <a:lnTo>
                  <a:pt x="1348857" y="529972"/>
                </a:lnTo>
                <a:lnTo>
                  <a:pt x="1409185" y="529972"/>
                </a:lnTo>
                <a:lnTo>
                  <a:pt x="1409185" y="536852"/>
                </a:lnTo>
                <a:lnTo>
                  <a:pt x="1435021" y="536852"/>
                </a:lnTo>
                <a:lnTo>
                  <a:pt x="1435021" y="543732"/>
                </a:lnTo>
                <a:lnTo>
                  <a:pt x="1438431" y="543732"/>
                </a:lnTo>
                <a:lnTo>
                  <a:pt x="1438431" y="550613"/>
                </a:lnTo>
                <a:lnTo>
                  <a:pt x="1440267" y="550613"/>
                </a:lnTo>
                <a:lnTo>
                  <a:pt x="1440267" y="557493"/>
                </a:lnTo>
                <a:lnTo>
                  <a:pt x="1483414" y="557493"/>
                </a:lnTo>
                <a:lnTo>
                  <a:pt x="1483414" y="564373"/>
                </a:lnTo>
                <a:lnTo>
                  <a:pt x="1498890" y="564373"/>
                </a:lnTo>
                <a:lnTo>
                  <a:pt x="1498890" y="571062"/>
                </a:lnTo>
                <a:lnTo>
                  <a:pt x="1510955" y="571062"/>
                </a:lnTo>
                <a:lnTo>
                  <a:pt x="1510955" y="577943"/>
                </a:lnTo>
                <a:lnTo>
                  <a:pt x="1514365" y="577943"/>
                </a:lnTo>
                <a:lnTo>
                  <a:pt x="1514365" y="584823"/>
                </a:lnTo>
                <a:lnTo>
                  <a:pt x="1536923" y="584823"/>
                </a:lnTo>
                <a:lnTo>
                  <a:pt x="1540201" y="584823"/>
                </a:lnTo>
                <a:lnTo>
                  <a:pt x="1540201" y="591703"/>
                </a:lnTo>
                <a:lnTo>
                  <a:pt x="1611021" y="591703"/>
                </a:lnTo>
                <a:lnTo>
                  <a:pt x="1611021" y="598583"/>
                </a:lnTo>
                <a:lnTo>
                  <a:pt x="1614431" y="598583"/>
                </a:lnTo>
                <a:lnTo>
                  <a:pt x="1614431" y="605464"/>
                </a:lnTo>
                <a:lnTo>
                  <a:pt x="1631743" y="605464"/>
                </a:lnTo>
                <a:lnTo>
                  <a:pt x="1631743" y="612344"/>
                </a:lnTo>
                <a:lnTo>
                  <a:pt x="1659284" y="612344"/>
                </a:lnTo>
                <a:lnTo>
                  <a:pt x="1736923" y="612344"/>
                </a:lnTo>
                <a:lnTo>
                  <a:pt x="1736923" y="619224"/>
                </a:lnTo>
                <a:lnTo>
                  <a:pt x="1742038" y="619224"/>
                </a:lnTo>
                <a:lnTo>
                  <a:pt x="1742038" y="626104"/>
                </a:lnTo>
                <a:lnTo>
                  <a:pt x="1847219" y="626104"/>
                </a:lnTo>
                <a:lnTo>
                  <a:pt x="1847219" y="633176"/>
                </a:lnTo>
                <a:lnTo>
                  <a:pt x="1852465" y="633176"/>
                </a:lnTo>
                <a:lnTo>
                  <a:pt x="1852465" y="640056"/>
                </a:lnTo>
                <a:lnTo>
                  <a:pt x="1978367" y="640056"/>
                </a:lnTo>
                <a:lnTo>
                  <a:pt x="1978367" y="646936"/>
                </a:lnTo>
                <a:lnTo>
                  <a:pt x="2018104" y="646936"/>
                </a:lnTo>
                <a:lnTo>
                  <a:pt x="2018104" y="653817"/>
                </a:lnTo>
                <a:lnTo>
                  <a:pt x="2049055" y="653817"/>
                </a:lnTo>
                <a:lnTo>
                  <a:pt x="2052465" y="653817"/>
                </a:lnTo>
                <a:lnTo>
                  <a:pt x="2074892" y="653817"/>
                </a:lnTo>
                <a:lnTo>
                  <a:pt x="2074892" y="660888"/>
                </a:lnTo>
                <a:lnTo>
                  <a:pt x="2116334" y="660888"/>
                </a:lnTo>
                <a:lnTo>
                  <a:pt x="2116334" y="667959"/>
                </a:lnTo>
                <a:lnTo>
                  <a:pt x="2140597" y="667959"/>
                </a:lnTo>
                <a:lnTo>
                  <a:pt x="2140597" y="675031"/>
                </a:lnTo>
                <a:lnTo>
                  <a:pt x="2147416" y="675031"/>
                </a:lnTo>
                <a:lnTo>
                  <a:pt x="2147416" y="681911"/>
                </a:lnTo>
                <a:lnTo>
                  <a:pt x="2180203" y="681911"/>
                </a:lnTo>
                <a:lnTo>
                  <a:pt x="2180203" y="688982"/>
                </a:lnTo>
                <a:lnTo>
                  <a:pt x="2235417" y="688982"/>
                </a:lnTo>
                <a:lnTo>
                  <a:pt x="2331941" y="688982"/>
                </a:lnTo>
                <a:lnTo>
                  <a:pt x="2331941" y="696054"/>
                </a:lnTo>
                <a:lnTo>
                  <a:pt x="2337188" y="696054"/>
                </a:lnTo>
                <a:lnTo>
                  <a:pt x="2337188" y="703125"/>
                </a:lnTo>
                <a:lnTo>
                  <a:pt x="2392270" y="703125"/>
                </a:lnTo>
                <a:lnTo>
                  <a:pt x="2392270" y="710197"/>
                </a:lnTo>
                <a:lnTo>
                  <a:pt x="2419942" y="710197"/>
                </a:lnTo>
                <a:lnTo>
                  <a:pt x="2425057" y="710197"/>
                </a:lnTo>
                <a:lnTo>
                  <a:pt x="2425057" y="717459"/>
                </a:lnTo>
                <a:lnTo>
                  <a:pt x="2450893" y="717459"/>
                </a:lnTo>
                <a:lnTo>
                  <a:pt x="2485516" y="717459"/>
                </a:lnTo>
                <a:lnTo>
                  <a:pt x="2485516" y="724531"/>
                </a:lnTo>
                <a:lnTo>
                  <a:pt x="2513188" y="724531"/>
                </a:lnTo>
                <a:lnTo>
                  <a:pt x="2513188" y="731793"/>
                </a:lnTo>
                <a:lnTo>
                  <a:pt x="2614828" y="731793"/>
                </a:lnTo>
                <a:lnTo>
                  <a:pt x="2644205" y="731793"/>
                </a:lnTo>
                <a:lnTo>
                  <a:pt x="2644205" y="739056"/>
                </a:lnTo>
                <a:lnTo>
                  <a:pt x="2726959" y="739056"/>
                </a:lnTo>
                <a:lnTo>
                  <a:pt x="2768402" y="739056"/>
                </a:lnTo>
                <a:lnTo>
                  <a:pt x="2820074" y="739056"/>
                </a:lnTo>
                <a:lnTo>
                  <a:pt x="2821779" y="739056"/>
                </a:lnTo>
                <a:lnTo>
                  <a:pt x="2840795" y="739056"/>
                </a:lnTo>
                <a:lnTo>
                  <a:pt x="2840795" y="746509"/>
                </a:lnTo>
                <a:lnTo>
                  <a:pt x="2880402" y="746509"/>
                </a:lnTo>
                <a:lnTo>
                  <a:pt x="2887353" y="746509"/>
                </a:lnTo>
                <a:lnTo>
                  <a:pt x="2890763" y="746509"/>
                </a:lnTo>
                <a:lnTo>
                  <a:pt x="2897714" y="746509"/>
                </a:lnTo>
                <a:lnTo>
                  <a:pt x="2899419" y="746509"/>
                </a:lnTo>
                <a:lnTo>
                  <a:pt x="2909779" y="746509"/>
                </a:lnTo>
                <a:lnTo>
                  <a:pt x="2911616" y="746509"/>
                </a:lnTo>
                <a:lnTo>
                  <a:pt x="2913189" y="746509"/>
                </a:lnTo>
                <a:lnTo>
                  <a:pt x="2913189" y="754536"/>
                </a:lnTo>
                <a:lnTo>
                  <a:pt x="2915025" y="754536"/>
                </a:lnTo>
                <a:lnTo>
                  <a:pt x="2933911" y="754536"/>
                </a:lnTo>
                <a:lnTo>
                  <a:pt x="2933911" y="762754"/>
                </a:lnTo>
                <a:lnTo>
                  <a:pt x="2945976" y="762754"/>
                </a:lnTo>
                <a:lnTo>
                  <a:pt x="2949386" y="762754"/>
                </a:lnTo>
                <a:lnTo>
                  <a:pt x="2958173" y="762754"/>
                </a:lnTo>
                <a:lnTo>
                  <a:pt x="2961583" y="762754"/>
                </a:lnTo>
                <a:lnTo>
                  <a:pt x="2971812" y="762754"/>
                </a:lnTo>
                <a:lnTo>
                  <a:pt x="2984009" y="762754"/>
                </a:lnTo>
                <a:lnTo>
                  <a:pt x="2987419" y="762754"/>
                </a:lnTo>
                <a:lnTo>
                  <a:pt x="2997780" y="762754"/>
                </a:lnTo>
                <a:lnTo>
                  <a:pt x="2997780" y="771546"/>
                </a:lnTo>
                <a:lnTo>
                  <a:pt x="3004599" y="771546"/>
                </a:lnTo>
                <a:lnTo>
                  <a:pt x="3011550" y="771546"/>
                </a:lnTo>
                <a:lnTo>
                  <a:pt x="3013255" y="771546"/>
                </a:lnTo>
                <a:lnTo>
                  <a:pt x="3032272" y="771546"/>
                </a:lnTo>
                <a:lnTo>
                  <a:pt x="3044337" y="771546"/>
                </a:lnTo>
                <a:lnTo>
                  <a:pt x="3049583" y="771546"/>
                </a:lnTo>
                <a:lnTo>
                  <a:pt x="3054698" y="771546"/>
                </a:lnTo>
                <a:lnTo>
                  <a:pt x="3075419" y="771546"/>
                </a:lnTo>
                <a:lnTo>
                  <a:pt x="3077124" y="771546"/>
                </a:lnTo>
                <a:lnTo>
                  <a:pt x="3080534" y="771546"/>
                </a:lnTo>
                <a:lnTo>
                  <a:pt x="3082239" y="771546"/>
                </a:lnTo>
                <a:lnTo>
                  <a:pt x="3092599" y="771546"/>
                </a:lnTo>
                <a:lnTo>
                  <a:pt x="3096141" y="771546"/>
                </a:lnTo>
                <a:lnTo>
                  <a:pt x="3097714" y="771546"/>
                </a:lnTo>
                <a:lnTo>
                  <a:pt x="3099551" y="771546"/>
                </a:lnTo>
                <a:lnTo>
                  <a:pt x="3099551" y="781866"/>
                </a:lnTo>
                <a:lnTo>
                  <a:pt x="3106501" y="781866"/>
                </a:lnTo>
                <a:lnTo>
                  <a:pt x="3108075" y="781866"/>
                </a:lnTo>
                <a:lnTo>
                  <a:pt x="3108075" y="792569"/>
                </a:lnTo>
                <a:lnTo>
                  <a:pt x="3111616" y="792569"/>
                </a:lnTo>
                <a:lnTo>
                  <a:pt x="3115026" y="792569"/>
                </a:lnTo>
                <a:lnTo>
                  <a:pt x="3125386" y="792569"/>
                </a:lnTo>
                <a:lnTo>
                  <a:pt x="3128928" y="792569"/>
                </a:lnTo>
                <a:lnTo>
                  <a:pt x="3149649" y="792569"/>
                </a:lnTo>
                <a:lnTo>
                  <a:pt x="3159878" y="792569"/>
                </a:lnTo>
                <a:lnTo>
                  <a:pt x="3168534" y="792569"/>
                </a:lnTo>
                <a:lnTo>
                  <a:pt x="3175485" y="792569"/>
                </a:lnTo>
                <a:lnTo>
                  <a:pt x="3187551" y="792569"/>
                </a:lnTo>
                <a:lnTo>
                  <a:pt x="3189124" y="792569"/>
                </a:lnTo>
                <a:lnTo>
                  <a:pt x="3190960" y="792569"/>
                </a:lnTo>
                <a:lnTo>
                  <a:pt x="3194370" y="792569"/>
                </a:lnTo>
                <a:lnTo>
                  <a:pt x="3196075" y="792569"/>
                </a:lnTo>
                <a:lnTo>
                  <a:pt x="3201321" y="792569"/>
                </a:lnTo>
                <a:lnTo>
                  <a:pt x="3204731" y="792569"/>
                </a:lnTo>
                <a:lnTo>
                  <a:pt x="3213387" y="792569"/>
                </a:lnTo>
                <a:lnTo>
                  <a:pt x="3215092" y="792569"/>
                </a:lnTo>
                <a:lnTo>
                  <a:pt x="3237518" y="792569"/>
                </a:lnTo>
                <a:lnTo>
                  <a:pt x="3247879" y="792569"/>
                </a:lnTo>
                <a:lnTo>
                  <a:pt x="3259944" y="792569"/>
                </a:lnTo>
                <a:lnTo>
                  <a:pt x="3272010" y="792569"/>
                </a:lnTo>
                <a:lnTo>
                  <a:pt x="3292731" y="792569"/>
                </a:lnTo>
                <a:lnTo>
                  <a:pt x="3297977" y="792569"/>
                </a:lnTo>
                <a:lnTo>
                  <a:pt x="3297977" y="807858"/>
                </a:lnTo>
                <a:lnTo>
                  <a:pt x="3303092" y="807858"/>
                </a:lnTo>
                <a:lnTo>
                  <a:pt x="3334174" y="807858"/>
                </a:lnTo>
                <a:lnTo>
                  <a:pt x="3335879" y="807858"/>
                </a:lnTo>
                <a:lnTo>
                  <a:pt x="3335879" y="823912"/>
                </a:lnTo>
                <a:lnTo>
                  <a:pt x="3344404" y="823912"/>
                </a:lnTo>
                <a:lnTo>
                  <a:pt x="3346240" y="823912"/>
                </a:lnTo>
                <a:lnTo>
                  <a:pt x="3361715" y="823912"/>
                </a:lnTo>
                <a:lnTo>
                  <a:pt x="3368535" y="823912"/>
                </a:lnTo>
                <a:lnTo>
                  <a:pt x="3372076" y="823912"/>
                </a:lnTo>
                <a:lnTo>
                  <a:pt x="3384010" y="823912"/>
                </a:lnTo>
                <a:lnTo>
                  <a:pt x="3396207" y="823912"/>
                </a:lnTo>
                <a:lnTo>
                  <a:pt x="3406568" y="823912"/>
                </a:lnTo>
                <a:lnTo>
                  <a:pt x="3420338" y="823912"/>
                </a:lnTo>
                <a:lnTo>
                  <a:pt x="3456535" y="823912"/>
                </a:lnTo>
                <a:lnTo>
                  <a:pt x="3468732" y="823912"/>
                </a:lnTo>
                <a:lnTo>
                  <a:pt x="3479092" y="823912"/>
                </a:lnTo>
                <a:lnTo>
                  <a:pt x="3480666" y="823912"/>
                </a:lnTo>
                <a:lnTo>
                  <a:pt x="3482502" y="823912"/>
                </a:lnTo>
                <a:lnTo>
                  <a:pt x="3487617" y="823912"/>
                </a:lnTo>
                <a:lnTo>
                  <a:pt x="3492863" y="823912"/>
                </a:lnTo>
                <a:lnTo>
                  <a:pt x="3497978" y="823912"/>
                </a:lnTo>
                <a:lnTo>
                  <a:pt x="3503093" y="823912"/>
                </a:lnTo>
                <a:lnTo>
                  <a:pt x="3515289" y="823912"/>
                </a:lnTo>
                <a:lnTo>
                  <a:pt x="3522109" y="823912"/>
                </a:lnTo>
                <a:lnTo>
                  <a:pt x="3523814" y="823912"/>
                </a:lnTo>
                <a:lnTo>
                  <a:pt x="3527224" y="823912"/>
                </a:lnTo>
                <a:lnTo>
                  <a:pt x="3551486" y="823912"/>
                </a:lnTo>
                <a:lnTo>
                  <a:pt x="3575486" y="823912"/>
                </a:lnTo>
                <a:lnTo>
                  <a:pt x="3575486" y="853153"/>
                </a:lnTo>
                <a:lnTo>
                  <a:pt x="3618634" y="853153"/>
                </a:lnTo>
                <a:lnTo>
                  <a:pt x="3686044" y="853153"/>
                </a:lnTo>
                <a:lnTo>
                  <a:pt x="3696405" y="853153"/>
                </a:lnTo>
                <a:lnTo>
                  <a:pt x="3704929" y="853153"/>
                </a:lnTo>
                <a:lnTo>
                  <a:pt x="3710175" y="853153"/>
                </a:lnTo>
                <a:lnTo>
                  <a:pt x="3734175" y="853153"/>
                </a:lnTo>
                <a:lnTo>
                  <a:pt x="3744536" y="853153"/>
                </a:lnTo>
                <a:lnTo>
                  <a:pt x="3746372" y="853153"/>
                </a:lnTo>
                <a:lnTo>
                  <a:pt x="3749782" y="853153"/>
                </a:lnTo>
                <a:lnTo>
                  <a:pt x="3758438" y="853153"/>
                </a:lnTo>
                <a:lnTo>
                  <a:pt x="3761847" y="853153"/>
                </a:lnTo>
                <a:lnTo>
                  <a:pt x="3765389" y="853153"/>
                </a:lnTo>
                <a:lnTo>
                  <a:pt x="3768798" y="853153"/>
                </a:lnTo>
                <a:lnTo>
                  <a:pt x="3770503" y="853153"/>
                </a:lnTo>
                <a:lnTo>
                  <a:pt x="3773913" y="853153"/>
                </a:lnTo>
                <a:lnTo>
                  <a:pt x="3792929" y="853153"/>
                </a:lnTo>
                <a:lnTo>
                  <a:pt x="3804995" y="853153"/>
                </a:lnTo>
                <a:lnTo>
                  <a:pt x="3822307" y="853153"/>
                </a:lnTo>
                <a:lnTo>
                  <a:pt x="3865323" y="853153"/>
                </a:lnTo>
                <a:lnTo>
                  <a:pt x="3879094" y="853153"/>
                </a:lnTo>
                <a:lnTo>
                  <a:pt x="3891290" y="853153"/>
                </a:lnTo>
                <a:lnTo>
                  <a:pt x="3977455" y="853153"/>
                </a:lnTo>
                <a:lnTo>
                  <a:pt x="4010242" y="853153"/>
                </a:lnTo>
                <a:lnTo>
                  <a:pt x="4063619" y="853153"/>
                </a:lnTo>
              </a:path>
            </a:pathLst>
          </a:custGeom>
          <a:noFill/>
          <a:ln w="12700" cap="flat">
            <a:solidFill>
              <a:schemeClr val="accent6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2037FEC7-A9FD-7AC5-A991-430FA89760D8}"/>
              </a:ext>
            </a:extLst>
          </p:cNvPr>
          <p:cNvSpPr/>
          <p:nvPr/>
        </p:nvSpPr>
        <p:spPr>
          <a:xfrm>
            <a:off x="1835136" y="1879613"/>
            <a:ext cx="4046438" cy="1323496"/>
          </a:xfrm>
          <a:custGeom>
            <a:avLst/>
            <a:gdLst>
              <a:gd name="connsiteX0" fmla="*/ 0 w 4046438"/>
              <a:gd name="connsiteY0" fmla="*/ 0 h 1323496"/>
              <a:gd name="connsiteX1" fmla="*/ 1705 w 4046438"/>
              <a:gd name="connsiteY1" fmla="*/ 0 h 1323496"/>
              <a:gd name="connsiteX2" fmla="*/ 49967 w 4046438"/>
              <a:gd name="connsiteY2" fmla="*/ 0 h 1323496"/>
              <a:gd name="connsiteX3" fmla="*/ 144918 w 4046438"/>
              <a:gd name="connsiteY3" fmla="*/ 0 h 1323496"/>
              <a:gd name="connsiteX4" fmla="*/ 144918 w 4046438"/>
              <a:gd name="connsiteY4" fmla="*/ 46442 h 1323496"/>
              <a:gd name="connsiteX5" fmla="*/ 203542 w 4046438"/>
              <a:gd name="connsiteY5" fmla="*/ 46442 h 1323496"/>
              <a:gd name="connsiteX6" fmla="*/ 203542 w 4046438"/>
              <a:gd name="connsiteY6" fmla="*/ 92884 h 1323496"/>
              <a:gd name="connsiteX7" fmla="*/ 279476 w 4046438"/>
              <a:gd name="connsiteY7" fmla="*/ 92884 h 1323496"/>
              <a:gd name="connsiteX8" fmla="*/ 279476 w 4046438"/>
              <a:gd name="connsiteY8" fmla="*/ 139325 h 1323496"/>
              <a:gd name="connsiteX9" fmla="*/ 336394 w 4046438"/>
              <a:gd name="connsiteY9" fmla="*/ 139325 h 1323496"/>
              <a:gd name="connsiteX10" fmla="*/ 336394 w 4046438"/>
              <a:gd name="connsiteY10" fmla="*/ 185767 h 1323496"/>
              <a:gd name="connsiteX11" fmla="*/ 381116 w 4046438"/>
              <a:gd name="connsiteY11" fmla="*/ 185767 h 1323496"/>
              <a:gd name="connsiteX12" fmla="*/ 403542 w 4046438"/>
              <a:gd name="connsiteY12" fmla="*/ 185767 h 1323496"/>
              <a:gd name="connsiteX13" fmla="*/ 403542 w 4046438"/>
              <a:gd name="connsiteY13" fmla="*/ 233929 h 1323496"/>
              <a:gd name="connsiteX14" fmla="*/ 420854 w 4046438"/>
              <a:gd name="connsiteY14" fmla="*/ 233929 h 1323496"/>
              <a:gd name="connsiteX15" fmla="*/ 420854 w 4046438"/>
              <a:gd name="connsiteY15" fmla="*/ 329680 h 1323496"/>
              <a:gd name="connsiteX16" fmla="*/ 432919 w 4046438"/>
              <a:gd name="connsiteY16" fmla="*/ 329680 h 1323496"/>
              <a:gd name="connsiteX17" fmla="*/ 432919 w 4046438"/>
              <a:gd name="connsiteY17" fmla="*/ 377650 h 1323496"/>
              <a:gd name="connsiteX18" fmla="*/ 581248 w 4046438"/>
              <a:gd name="connsiteY18" fmla="*/ 377650 h 1323496"/>
              <a:gd name="connsiteX19" fmla="*/ 581248 w 4046438"/>
              <a:gd name="connsiteY19" fmla="*/ 425621 h 1323496"/>
              <a:gd name="connsiteX20" fmla="*/ 582953 w 4046438"/>
              <a:gd name="connsiteY20" fmla="*/ 425621 h 1323496"/>
              <a:gd name="connsiteX21" fmla="*/ 582953 w 4046438"/>
              <a:gd name="connsiteY21" fmla="*/ 475503 h 1323496"/>
              <a:gd name="connsiteX22" fmla="*/ 584658 w 4046438"/>
              <a:gd name="connsiteY22" fmla="*/ 475503 h 1323496"/>
              <a:gd name="connsiteX23" fmla="*/ 584658 w 4046438"/>
              <a:gd name="connsiteY23" fmla="*/ 525385 h 1323496"/>
              <a:gd name="connsiteX24" fmla="*/ 631215 w 4046438"/>
              <a:gd name="connsiteY24" fmla="*/ 525385 h 1323496"/>
              <a:gd name="connsiteX25" fmla="*/ 631215 w 4046438"/>
              <a:gd name="connsiteY25" fmla="*/ 625149 h 1323496"/>
              <a:gd name="connsiteX26" fmla="*/ 662297 w 4046438"/>
              <a:gd name="connsiteY26" fmla="*/ 625149 h 1323496"/>
              <a:gd name="connsiteX27" fmla="*/ 662297 w 4046438"/>
              <a:gd name="connsiteY27" fmla="*/ 675031 h 1323496"/>
              <a:gd name="connsiteX28" fmla="*/ 724461 w 4046438"/>
              <a:gd name="connsiteY28" fmla="*/ 675031 h 1323496"/>
              <a:gd name="connsiteX29" fmla="*/ 724461 w 4046438"/>
              <a:gd name="connsiteY29" fmla="*/ 724913 h 1323496"/>
              <a:gd name="connsiteX30" fmla="*/ 750297 w 4046438"/>
              <a:gd name="connsiteY30" fmla="*/ 724913 h 1323496"/>
              <a:gd name="connsiteX31" fmla="*/ 750297 w 4046438"/>
              <a:gd name="connsiteY31" fmla="*/ 774795 h 1323496"/>
              <a:gd name="connsiteX32" fmla="*/ 860724 w 4046438"/>
              <a:gd name="connsiteY32" fmla="*/ 774795 h 1323496"/>
              <a:gd name="connsiteX33" fmla="*/ 860724 w 4046438"/>
              <a:gd name="connsiteY33" fmla="*/ 824677 h 1323496"/>
              <a:gd name="connsiteX34" fmla="*/ 870953 w 4046438"/>
              <a:gd name="connsiteY34" fmla="*/ 824677 h 1323496"/>
              <a:gd name="connsiteX35" fmla="*/ 870953 w 4046438"/>
              <a:gd name="connsiteY35" fmla="*/ 874559 h 1323496"/>
              <a:gd name="connsiteX36" fmla="*/ 881314 w 4046438"/>
              <a:gd name="connsiteY36" fmla="*/ 874559 h 1323496"/>
              <a:gd name="connsiteX37" fmla="*/ 881314 w 4046438"/>
              <a:gd name="connsiteY37" fmla="*/ 924441 h 1323496"/>
              <a:gd name="connsiteX38" fmla="*/ 888265 w 4046438"/>
              <a:gd name="connsiteY38" fmla="*/ 924441 h 1323496"/>
              <a:gd name="connsiteX39" fmla="*/ 888265 w 4046438"/>
              <a:gd name="connsiteY39" fmla="*/ 974322 h 1323496"/>
              <a:gd name="connsiteX40" fmla="*/ 931413 w 4046438"/>
              <a:gd name="connsiteY40" fmla="*/ 974322 h 1323496"/>
              <a:gd name="connsiteX41" fmla="*/ 931413 w 4046438"/>
              <a:gd name="connsiteY41" fmla="*/ 1024204 h 1323496"/>
              <a:gd name="connsiteX42" fmla="*/ 1010757 w 4046438"/>
              <a:gd name="connsiteY42" fmla="*/ 1024204 h 1323496"/>
              <a:gd name="connsiteX43" fmla="*/ 1010757 w 4046438"/>
              <a:gd name="connsiteY43" fmla="*/ 1074086 h 1323496"/>
              <a:gd name="connsiteX44" fmla="*/ 1200528 w 4046438"/>
              <a:gd name="connsiteY44" fmla="*/ 1074086 h 1323496"/>
              <a:gd name="connsiteX45" fmla="*/ 1200528 w 4046438"/>
              <a:gd name="connsiteY45" fmla="*/ 1123968 h 1323496"/>
              <a:gd name="connsiteX46" fmla="*/ 1357381 w 4046438"/>
              <a:gd name="connsiteY46" fmla="*/ 1123968 h 1323496"/>
              <a:gd name="connsiteX47" fmla="*/ 1357381 w 4046438"/>
              <a:gd name="connsiteY47" fmla="*/ 1173850 h 1323496"/>
              <a:gd name="connsiteX48" fmla="*/ 1407480 w 4046438"/>
              <a:gd name="connsiteY48" fmla="*/ 1173850 h 1323496"/>
              <a:gd name="connsiteX49" fmla="*/ 1407480 w 4046438"/>
              <a:gd name="connsiteY49" fmla="*/ 1223732 h 1323496"/>
              <a:gd name="connsiteX50" fmla="*/ 1464398 w 4046438"/>
              <a:gd name="connsiteY50" fmla="*/ 1223732 h 1323496"/>
              <a:gd name="connsiteX51" fmla="*/ 1464398 w 4046438"/>
              <a:gd name="connsiteY51" fmla="*/ 1273614 h 1323496"/>
              <a:gd name="connsiteX52" fmla="*/ 2028465 w 4046438"/>
              <a:gd name="connsiteY52" fmla="*/ 1273614 h 1323496"/>
              <a:gd name="connsiteX53" fmla="*/ 2028465 w 4046438"/>
              <a:gd name="connsiteY53" fmla="*/ 1323496 h 1323496"/>
              <a:gd name="connsiteX54" fmla="*/ 2554500 w 4046438"/>
              <a:gd name="connsiteY54" fmla="*/ 1323496 h 1323496"/>
              <a:gd name="connsiteX55" fmla="*/ 3059944 w 4046438"/>
              <a:gd name="connsiteY55" fmla="*/ 1323496 h 1323496"/>
              <a:gd name="connsiteX56" fmla="*/ 3263354 w 4046438"/>
              <a:gd name="connsiteY56" fmla="*/ 1323496 h 1323496"/>
              <a:gd name="connsiteX57" fmla="*/ 3308207 w 4046438"/>
              <a:gd name="connsiteY57" fmla="*/ 1323496 h 1323496"/>
              <a:gd name="connsiteX58" fmla="*/ 3761847 w 4046438"/>
              <a:gd name="connsiteY58" fmla="*/ 1323496 h 1323496"/>
              <a:gd name="connsiteX59" fmla="*/ 3817061 w 4046438"/>
              <a:gd name="connsiteY59" fmla="*/ 1323496 h 1323496"/>
              <a:gd name="connsiteX60" fmla="*/ 4046439 w 4046438"/>
              <a:gd name="connsiteY60" fmla="*/ 1323496 h 1323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4046438" h="1323496">
                <a:moveTo>
                  <a:pt x="0" y="0"/>
                </a:moveTo>
                <a:lnTo>
                  <a:pt x="1705" y="0"/>
                </a:lnTo>
                <a:lnTo>
                  <a:pt x="49967" y="0"/>
                </a:lnTo>
                <a:lnTo>
                  <a:pt x="144918" y="0"/>
                </a:lnTo>
                <a:lnTo>
                  <a:pt x="144918" y="46442"/>
                </a:lnTo>
                <a:lnTo>
                  <a:pt x="203542" y="46442"/>
                </a:lnTo>
                <a:lnTo>
                  <a:pt x="203542" y="92884"/>
                </a:lnTo>
                <a:lnTo>
                  <a:pt x="279476" y="92884"/>
                </a:lnTo>
                <a:lnTo>
                  <a:pt x="279476" y="139325"/>
                </a:lnTo>
                <a:lnTo>
                  <a:pt x="336394" y="139325"/>
                </a:lnTo>
                <a:lnTo>
                  <a:pt x="336394" y="185767"/>
                </a:lnTo>
                <a:lnTo>
                  <a:pt x="381116" y="185767"/>
                </a:lnTo>
                <a:lnTo>
                  <a:pt x="403542" y="185767"/>
                </a:lnTo>
                <a:lnTo>
                  <a:pt x="403542" y="233929"/>
                </a:lnTo>
                <a:lnTo>
                  <a:pt x="420854" y="233929"/>
                </a:lnTo>
                <a:lnTo>
                  <a:pt x="420854" y="329680"/>
                </a:lnTo>
                <a:lnTo>
                  <a:pt x="432919" y="329680"/>
                </a:lnTo>
                <a:lnTo>
                  <a:pt x="432919" y="377650"/>
                </a:lnTo>
                <a:lnTo>
                  <a:pt x="581248" y="377650"/>
                </a:lnTo>
                <a:lnTo>
                  <a:pt x="581248" y="425621"/>
                </a:lnTo>
                <a:lnTo>
                  <a:pt x="582953" y="425621"/>
                </a:lnTo>
                <a:lnTo>
                  <a:pt x="582953" y="475503"/>
                </a:lnTo>
                <a:lnTo>
                  <a:pt x="584658" y="475503"/>
                </a:lnTo>
                <a:lnTo>
                  <a:pt x="584658" y="525385"/>
                </a:lnTo>
                <a:lnTo>
                  <a:pt x="631215" y="525385"/>
                </a:lnTo>
                <a:lnTo>
                  <a:pt x="631215" y="625149"/>
                </a:lnTo>
                <a:lnTo>
                  <a:pt x="662297" y="625149"/>
                </a:lnTo>
                <a:lnTo>
                  <a:pt x="662297" y="675031"/>
                </a:lnTo>
                <a:lnTo>
                  <a:pt x="724461" y="675031"/>
                </a:lnTo>
                <a:lnTo>
                  <a:pt x="724461" y="724913"/>
                </a:lnTo>
                <a:lnTo>
                  <a:pt x="750297" y="724913"/>
                </a:lnTo>
                <a:lnTo>
                  <a:pt x="750297" y="774795"/>
                </a:lnTo>
                <a:lnTo>
                  <a:pt x="860724" y="774795"/>
                </a:lnTo>
                <a:lnTo>
                  <a:pt x="860724" y="824677"/>
                </a:lnTo>
                <a:lnTo>
                  <a:pt x="870953" y="824677"/>
                </a:lnTo>
                <a:lnTo>
                  <a:pt x="870953" y="874559"/>
                </a:lnTo>
                <a:lnTo>
                  <a:pt x="881314" y="874559"/>
                </a:lnTo>
                <a:lnTo>
                  <a:pt x="881314" y="924441"/>
                </a:lnTo>
                <a:lnTo>
                  <a:pt x="888265" y="924441"/>
                </a:lnTo>
                <a:lnTo>
                  <a:pt x="888265" y="974322"/>
                </a:lnTo>
                <a:lnTo>
                  <a:pt x="931413" y="974322"/>
                </a:lnTo>
                <a:lnTo>
                  <a:pt x="931413" y="1024204"/>
                </a:lnTo>
                <a:lnTo>
                  <a:pt x="1010757" y="1024204"/>
                </a:lnTo>
                <a:lnTo>
                  <a:pt x="1010757" y="1074086"/>
                </a:lnTo>
                <a:lnTo>
                  <a:pt x="1200528" y="1074086"/>
                </a:lnTo>
                <a:lnTo>
                  <a:pt x="1200528" y="1123968"/>
                </a:lnTo>
                <a:lnTo>
                  <a:pt x="1357381" y="1123968"/>
                </a:lnTo>
                <a:lnTo>
                  <a:pt x="1357381" y="1173850"/>
                </a:lnTo>
                <a:lnTo>
                  <a:pt x="1407480" y="1173850"/>
                </a:lnTo>
                <a:lnTo>
                  <a:pt x="1407480" y="1223732"/>
                </a:lnTo>
                <a:lnTo>
                  <a:pt x="1464398" y="1223732"/>
                </a:lnTo>
                <a:lnTo>
                  <a:pt x="1464398" y="1273614"/>
                </a:lnTo>
                <a:lnTo>
                  <a:pt x="2028465" y="1273614"/>
                </a:lnTo>
                <a:lnTo>
                  <a:pt x="2028465" y="1323496"/>
                </a:lnTo>
                <a:lnTo>
                  <a:pt x="2554500" y="1323496"/>
                </a:lnTo>
                <a:lnTo>
                  <a:pt x="3059944" y="1323496"/>
                </a:lnTo>
                <a:lnTo>
                  <a:pt x="3263354" y="1323496"/>
                </a:lnTo>
                <a:lnTo>
                  <a:pt x="3308207" y="1323496"/>
                </a:lnTo>
                <a:lnTo>
                  <a:pt x="3761847" y="1323496"/>
                </a:lnTo>
                <a:lnTo>
                  <a:pt x="3817061" y="1323496"/>
                </a:lnTo>
                <a:lnTo>
                  <a:pt x="4046439" y="1323496"/>
                </a:lnTo>
              </a:path>
            </a:pathLst>
          </a:custGeom>
          <a:noFill/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D09F9739-1614-12F8-6748-8AC422766ACB}"/>
              </a:ext>
            </a:extLst>
          </p:cNvPr>
          <p:cNvGrpSpPr/>
          <p:nvPr/>
        </p:nvGrpSpPr>
        <p:grpSpPr>
          <a:xfrm>
            <a:off x="3222114" y="1751750"/>
            <a:ext cx="3059461" cy="632224"/>
            <a:chOff x="2785807" y="2981481"/>
            <a:chExt cx="1936805" cy="632224"/>
          </a:xfrm>
        </p:grpSpPr>
        <p:sp>
          <p:nvSpPr>
            <p:cNvPr id="24" name="object 217">
              <a:extLst>
                <a:ext uri="{FF2B5EF4-FFF2-40B4-BE49-F238E27FC236}">
                  <a16:creationId xmlns:a16="http://schemas.microsoft.com/office/drawing/2014/main" id="{4814ED88-D7FC-9BEF-9EDB-ACE933741B8F}"/>
                </a:ext>
              </a:extLst>
            </p:cNvPr>
            <p:cNvSpPr txBox="1"/>
            <p:nvPr/>
          </p:nvSpPr>
          <p:spPr>
            <a:xfrm>
              <a:off x="2987275" y="2981481"/>
              <a:ext cx="1735337" cy="632224"/>
            </a:xfrm>
            <a:prstGeom prst="rect">
              <a:avLst/>
            </a:prstGeom>
          </p:spPr>
          <p:txBody>
            <a:bodyPr vert="horz" wrap="square" lIns="0" tIns="16510" rIns="0" bIns="0" rtlCol="0">
              <a:spAutoFit/>
            </a:bodyPr>
            <a:lstStyle/>
            <a:p>
              <a:r>
                <a:rPr lang="de-DE" sz="1000" dirty="0"/>
                <a:t>Placebo + </a:t>
              </a:r>
              <a:r>
                <a:rPr lang="de-DE" sz="1000" dirty="0" err="1"/>
                <a:t>ctDNA</a:t>
              </a:r>
              <a:r>
                <a:rPr lang="de-DE" sz="1000" dirty="0"/>
                <a:t> nicht detektierbar</a:t>
              </a:r>
            </a:p>
            <a:p>
              <a:r>
                <a:rPr lang="de-DE" sz="1000" dirty="0"/>
                <a:t>Placebo + </a:t>
              </a:r>
              <a:r>
                <a:rPr lang="de-DE" sz="1000" dirty="0" err="1"/>
                <a:t>ctDNA</a:t>
              </a:r>
              <a:r>
                <a:rPr lang="de-DE" sz="1000" dirty="0"/>
                <a:t> detektierbar</a:t>
              </a:r>
            </a:p>
            <a:p>
              <a:r>
                <a:rPr lang="de-DE" sz="1000" dirty="0"/>
                <a:t>Kombinationstherapie + </a:t>
              </a:r>
              <a:r>
                <a:rPr lang="de-DE" sz="1000" dirty="0" err="1"/>
                <a:t>ctDNA</a:t>
              </a:r>
              <a:r>
                <a:rPr lang="de-DE" sz="1000" dirty="0"/>
                <a:t> nicht detektierbar Kombinationstherapie + </a:t>
              </a:r>
              <a:r>
                <a:rPr lang="de-DE" sz="1000" dirty="0" err="1"/>
                <a:t>ctDNA</a:t>
              </a:r>
              <a:r>
                <a:rPr lang="de-DE" sz="1000" dirty="0"/>
                <a:t> detektierbar</a:t>
              </a:r>
            </a:p>
          </p:txBody>
        </p: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9BF6ADDE-8C99-2757-AB1B-D05729C8E85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85807" y="3077812"/>
              <a:ext cx="144000" cy="0"/>
            </a:xfrm>
            <a:prstGeom prst="line">
              <a:avLst/>
            </a:prstGeom>
            <a:ln w="19050" cap="rnd">
              <a:solidFill>
                <a:schemeClr val="accent6">
                  <a:lumMod val="40000"/>
                  <a:lumOff val="6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F1FBDA32-F9F7-0AB1-5227-DE83986EF60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85807" y="3231054"/>
              <a:ext cx="144000" cy="0"/>
            </a:xfrm>
            <a:prstGeom prst="line">
              <a:avLst/>
            </a:prstGeom>
            <a:ln w="19050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7FD7EA8F-96F2-70AA-2B4D-7B878E7083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85807" y="3384296"/>
              <a:ext cx="144000" cy="0"/>
            </a:xfrm>
            <a:prstGeom prst="line">
              <a:avLst/>
            </a:prstGeom>
            <a:ln w="19050" cap="rnd">
              <a:solidFill>
                <a:schemeClr val="accent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A7745E7-BE32-F105-6B38-07167DD290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85807" y="3537538"/>
              <a:ext cx="144000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93DDEF3E-D9FF-5BB7-58B8-DA8CEF8A74AD}"/>
              </a:ext>
            </a:extLst>
          </p:cNvPr>
          <p:cNvCxnSpPr>
            <a:cxnSpLocks/>
          </p:cNvCxnSpPr>
          <p:nvPr/>
        </p:nvCxnSpPr>
        <p:spPr>
          <a:xfrm>
            <a:off x="2477078" y="1893094"/>
            <a:ext cx="0" cy="1707356"/>
          </a:xfrm>
          <a:prstGeom prst="line">
            <a:avLst/>
          </a:prstGeom>
          <a:ln w="12700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2533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2C06E39-20B9-A18F-DCD3-878FFC64E2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9697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C06E39-20B9-A18F-DCD3-878FFC64E2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23F29D1-344F-2DF9-2C6C-C5DD3A46D1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838" y="5958450"/>
            <a:ext cx="9267825" cy="587375"/>
          </a:xfrm>
        </p:spPr>
        <p:txBody>
          <a:bodyPr/>
          <a:lstStyle/>
          <a:p>
            <a:r>
              <a:rPr lang="en-US" b="1" dirty="0"/>
              <a:t>a </a:t>
            </a:r>
            <a:r>
              <a:rPr lang="de-DE" dirty="0"/>
              <a:t>Der festgelegte Grenzwert für die Bestimmung </a:t>
            </a:r>
            <a:r>
              <a:rPr lang="de-DE" dirty="0" err="1"/>
              <a:t>ctDNA</a:t>
            </a:r>
            <a:r>
              <a:rPr lang="de-DE" dirty="0"/>
              <a:t>-positiver Proben lag bei 0,28 Kopien/ml für </a:t>
            </a:r>
            <a:r>
              <a:rPr lang="de-DE" i="1" dirty="0"/>
              <a:t>BRAF</a:t>
            </a:r>
            <a:r>
              <a:rPr lang="de-DE" dirty="0"/>
              <a:t>V600E und 0.34 Kopien/ml für BRAFV600K. Die vertikale Linie nach 12 Monaten markiert das Ende der Behandlungsphase.</a:t>
            </a:r>
          </a:p>
          <a:p>
            <a:r>
              <a:rPr lang="en-US" b="1" dirty="0"/>
              <a:t>ctDNA</a:t>
            </a:r>
            <a:r>
              <a:rPr lang="en-US" dirty="0"/>
              <a:t> </a:t>
            </a:r>
            <a:r>
              <a:rPr lang="en-US" i="1" dirty="0"/>
              <a:t>circulating </a:t>
            </a:r>
            <a:r>
              <a:rPr lang="en-US" i="1" dirty="0" err="1"/>
              <a:t>tumour</a:t>
            </a:r>
            <a:r>
              <a:rPr lang="en-US" i="1" dirty="0"/>
              <a:t> </a:t>
            </a:r>
            <a:r>
              <a:rPr lang="en-US" dirty="0"/>
              <a:t>DNA. </a:t>
            </a:r>
            <a:r>
              <a:rPr lang="en-US" b="1" dirty="0"/>
              <a:t>HR </a:t>
            </a:r>
            <a:r>
              <a:rPr lang="en-US" i="1" dirty="0"/>
              <a:t>Hazard Ratio</a:t>
            </a:r>
            <a:r>
              <a:rPr lang="en-US" dirty="0"/>
              <a:t>. </a:t>
            </a:r>
            <a:r>
              <a:rPr lang="en-US" b="1" dirty="0"/>
              <a:t>NR</a:t>
            </a:r>
            <a:r>
              <a:rPr lang="en-US" dirty="0"/>
              <a:t> </a:t>
            </a:r>
            <a:r>
              <a:rPr lang="en-US" dirty="0" err="1"/>
              <a:t>nicht</a:t>
            </a:r>
            <a:r>
              <a:rPr lang="en-US" dirty="0"/>
              <a:t> </a:t>
            </a:r>
            <a:r>
              <a:rPr lang="en-US" dirty="0" err="1"/>
              <a:t>erreicht</a:t>
            </a:r>
            <a:r>
              <a:rPr lang="en-US" dirty="0"/>
              <a:t>. </a:t>
            </a:r>
            <a:r>
              <a:rPr lang="en-US" b="1" dirty="0"/>
              <a:t>OS</a:t>
            </a:r>
            <a:r>
              <a:rPr lang="en-US" dirty="0"/>
              <a:t> </a:t>
            </a:r>
            <a:r>
              <a:rPr lang="en-US" dirty="0" err="1"/>
              <a:t>Gesamtüberleben</a:t>
            </a:r>
            <a:r>
              <a:rPr lang="en-US" dirty="0"/>
              <a:t>.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90AA5-8138-7D5C-894D-298933B0F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0879180" cy="1065278"/>
          </a:xfrm>
        </p:spPr>
        <p:txBody>
          <a:bodyPr vert="horz"/>
          <a:lstStyle/>
          <a:p>
            <a:r>
              <a:rPr lang="en-US" dirty="0" err="1"/>
              <a:t>Gesamtü</a:t>
            </a:r>
            <a:r>
              <a:rPr lang="en-US" dirty="0" err="1">
                <a:solidFill>
                  <a:schemeClr val="accent1"/>
                </a:solidFill>
              </a:rPr>
              <a:t>b</a:t>
            </a:r>
            <a:r>
              <a:rPr lang="en-US" dirty="0" err="1"/>
              <a:t>erleben</a:t>
            </a:r>
            <a:r>
              <a:rPr lang="en-US" dirty="0"/>
              <a:t> (OS) </a:t>
            </a:r>
            <a:r>
              <a:rPr lang="de-DE" dirty="0"/>
              <a:t>stratifiziert nach Behandlungsgruppe und </a:t>
            </a:r>
            <a:r>
              <a:rPr lang="de-DE" i="1" dirty="0"/>
              <a:t>BRAF</a:t>
            </a:r>
            <a:r>
              <a:rPr lang="de-DE" dirty="0"/>
              <a:t> </a:t>
            </a:r>
            <a:r>
              <a:rPr lang="de-DE" dirty="0" err="1"/>
              <a:t>ctDNA</a:t>
            </a:r>
            <a:r>
              <a:rPr lang="de-DE" dirty="0"/>
              <a:t> zu </a:t>
            </a:r>
            <a:r>
              <a:rPr lang="de-DE" dirty="0" err="1"/>
              <a:t>Studienbeginn</a:t>
            </a:r>
            <a:r>
              <a:rPr lang="de-DE" baseline="30000" dirty="0" err="1"/>
              <a:t>a</a:t>
            </a:r>
            <a:endParaRPr lang="de-DE" baseline="300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DDFF52B-833D-8D01-C4B2-34DE7A535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5</a:t>
            </a:fld>
            <a:endParaRPr lang="en-GB"/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6066C406-8053-1E9E-87B3-95BDF115C6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039115"/>
              </p:ext>
            </p:extLst>
          </p:nvPr>
        </p:nvGraphicFramePr>
        <p:xfrm>
          <a:off x="6348503" y="1881973"/>
          <a:ext cx="5135515" cy="1321487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1293533">
                  <a:extLst>
                    <a:ext uri="{9D8B030D-6E8A-4147-A177-3AD203B41FA5}">
                      <a16:colId xmlns:a16="http://schemas.microsoft.com/office/drawing/2014/main" val="4117669799"/>
                    </a:ext>
                  </a:extLst>
                </a:gridCol>
                <a:gridCol w="386129">
                  <a:extLst>
                    <a:ext uri="{9D8B030D-6E8A-4147-A177-3AD203B41FA5}">
                      <a16:colId xmlns:a16="http://schemas.microsoft.com/office/drawing/2014/main" val="2166316309"/>
                    </a:ext>
                  </a:extLst>
                </a:gridCol>
                <a:gridCol w="733645">
                  <a:extLst>
                    <a:ext uri="{9D8B030D-6E8A-4147-A177-3AD203B41FA5}">
                      <a16:colId xmlns:a16="http://schemas.microsoft.com/office/drawing/2014/main" val="1508757273"/>
                    </a:ext>
                  </a:extLst>
                </a:gridCol>
                <a:gridCol w="1177693">
                  <a:extLst>
                    <a:ext uri="{9D8B030D-6E8A-4147-A177-3AD203B41FA5}">
                      <a16:colId xmlns:a16="http://schemas.microsoft.com/office/drawing/2014/main" val="1307648116"/>
                    </a:ext>
                  </a:extLst>
                </a:gridCol>
                <a:gridCol w="889846">
                  <a:extLst>
                    <a:ext uri="{9D8B030D-6E8A-4147-A177-3AD203B41FA5}">
                      <a16:colId xmlns:a16="http://schemas.microsoft.com/office/drawing/2014/main" val="3921294427"/>
                    </a:ext>
                  </a:extLst>
                </a:gridCol>
                <a:gridCol w="654669">
                  <a:extLst>
                    <a:ext uri="{9D8B030D-6E8A-4147-A177-3AD203B41FA5}">
                      <a16:colId xmlns:a16="http://schemas.microsoft.com/office/drawing/2014/main" val="1485311889"/>
                    </a:ext>
                  </a:extLst>
                </a:gridCol>
              </a:tblGrid>
              <a:tr h="372023">
                <a:tc>
                  <a:txBody>
                    <a:bodyPr/>
                    <a:lstStyle/>
                    <a:p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Ereignis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Medianes RFS (95%-KI), Mo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HR (95%-K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P-We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4645413"/>
                  </a:ext>
                </a:extLst>
              </a:tr>
              <a:tr h="474732">
                <a:tc>
                  <a:txBody>
                    <a:bodyPr/>
                    <a:lstStyle/>
                    <a:p>
                      <a:r>
                        <a:rPr lang="de-DE" sz="800" b="1" dirty="0">
                          <a:solidFill>
                            <a:schemeClr val="tx2"/>
                          </a:solidFill>
                        </a:rPr>
                        <a:t>Placebo</a:t>
                      </a:r>
                    </a:p>
                    <a:p>
                      <a:r>
                        <a:rPr lang="de-DE" sz="800" dirty="0" err="1">
                          <a:solidFill>
                            <a:schemeClr val="tx2"/>
                          </a:solidFill>
                        </a:rPr>
                        <a:t>ctDNA</a:t>
                      </a:r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 detektierbar</a:t>
                      </a:r>
                    </a:p>
                    <a:p>
                      <a:r>
                        <a:rPr lang="de-DE" sz="800" dirty="0" err="1">
                          <a:solidFill>
                            <a:schemeClr val="tx2"/>
                          </a:solidFill>
                        </a:rPr>
                        <a:t>ctDNA</a:t>
                      </a:r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 nicht detektierb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41</a:t>
                      </a: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2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33,90 (13,96–NR)</a:t>
                      </a: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N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3,35 (2,01–5,55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p&lt;0,0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0673534"/>
                  </a:ext>
                </a:extLst>
              </a:tr>
              <a:tr h="474732">
                <a:tc>
                  <a:txBody>
                    <a:bodyPr/>
                    <a:lstStyle/>
                    <a:p>
                      <a:r>
                        <a:rPr lang="de-DE" sz="800" b="1" dirty="0">
                          <a:solidFill>
                            <a:schemeClr val="tx2"/>
                          </a:solidFill>
                        </a:rPr>
                        <a:t>Kombinationstherapie</a:t>
                      </a:r>
                    </a:p>
                    <a:p>
                      <a:r>
                        <a:rPr lang="de-DE" sz="800" dirty="0" err="1">
                          <a:solidFill>
                            <a:schemeClr val="tx2"/>
                          </a:solidFill>
                        </a:rPr>
                        <a:t>ctDNA</a:t>
                      </a:r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 detektierbar</a:t>
                      </a:r>
                    </a:p>
                    <a:p>
                      <a:r>
                        <a:rPr lang="de-DE" sz="800" dirty="0" err="1">
                          <a:solidFill>
                            <a:schemeClr val="tx2"/>
                          </a:solidFill>
                        </a:rPr>
                        <a:t>ctDNA</a:t>
                      </a:r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 nicht detektierb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38</a:t>
                      </a: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27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40,31 (24,90–NA)</a:t>
                      </a: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N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4,27 (2,50–7,27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p&lt;0,0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825504"/>
                  </a:ext>
                </a:extLst>
              </a:tr>
            </a:tbl>
          </a:graphicData>
        </a:graphic>
      </p:graphicFrame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CAFF92A7-3146-A4C4-6BF4-38C664E28742}"/>
              </a:ext>
            </a:extLst>
          </p:cNvPr>
          <p:cNvSpPr/>
          <p:nvPr/>
        </p:nvSpPr>
        <p:spPr>
          <a:xfrm>
            <a:off x="6598822" y="3564468"/>
            <a:ext cx="3154777" cy="203517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de-DE" sz="1600" b="1" dirty="0">
                <a:solidFill>
                  <a:schemeClr val="tx2"/>
                </a:solidFill>
              </a:rPr>
              <a:t>Patient*innen mit nachweisbarer </a:t>
            </a:r>
            <a:r>
              <a:rPr lang="de-DE" sz="1600" b="1" dirty="0" err="1">
                <a:solidFill>
                  <a:schemeClr val="tx2"/>
                </a:solidFill>
              </a:rPr>
              <a:t>ctDNA</a:t>
            </a:r>
            <a:r>
              <a:rPr lang="de-DE" sz="1600" b="1" dirty="0">
                <a:solidFill>
                  <a:schemeClr val="tx2"/>
                </a:solidFill>
              </a:rPr>
              <a:t> zu Studienbeginn wiesen in beiden Behandlungsgruppen ein signifikant geringeres OS auf</a:t>
            </a:r>
          </a:p>
        </p:txBody>
      </p:sp>
      <p:pic>
        <p:nvPicPr>
          <p:cNvPr id="15" name="Grafik 14" descr="Ein Bild, das Kreis, Grafiken, Farbigkeit, orange enthält.&#10;&#10;KI-generierte Inhalte können fehlerhaft sein.">
            <a:extLst>
              <a:ext uri="{FF2B5EF4-FFF2-40B4-BE49-F238E27FC236}">
                <a16:creationId xmlns:a16="http://schemas.microsoft.com/office/drawing/2014/main" id="{06E53AC4-1FE9-AFAD-2C08-6A4C00A2B4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503" y="3448542"/>
            <a:ext cx="720000" cy="720000"/>
          </a:xfrm>
          <a:prstGeom prst="rect">
            <a:avLst/>
          </a:prstGeom>
        </p:spPr>
      </p:pic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0A809362-008D-961A-4564-B8EA33CD67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2251401"/>
              </p:ext>
            </p:extLst>
          </p:nvPr>
        </p:nvGraphicFramePr>
        <p:xfrm>
          <a:off x="1673223" y="4386693"/>
          <a:ext cx="4399696" cy="126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4264">
                  <a:extLst>
                    <a:ext uri="{9D8B030D-6E8A-4147-A177-3AD203B41FA5}">
                      <a16:colId xmlns:a16="http://schemas.microsoft.com/office/drawing/2014/main" val="2720059670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3558843235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642524864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400611306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3315586355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1430594064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3098826525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3997508032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2238665104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1973714109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3560075177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429688891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3354850964"/>
                    </a:ext>
                  </a:extLst>
                </a:gridCol>
                <a:gridCol w="314264">
                  <a:extLst>
                    <a:ext uri="{9D8B030D-6E8A-4147-A177-3AD203B41FA5}">
                      <a16:colId xmlns:a16="http://schemas.microsoft.com/office/drawing/2014/main" val="302973163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4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37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8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27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1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0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5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8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8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76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3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68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34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6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36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56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4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47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41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07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8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58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27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69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0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83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597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41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32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3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5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8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6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8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8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4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8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8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8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8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1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4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7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9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0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1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5414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7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58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5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49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1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4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2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37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5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2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7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17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3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11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31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07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33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97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39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42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9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72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55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1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04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24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66594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38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36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2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9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3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3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4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1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5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0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5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8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5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6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5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5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6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4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6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2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8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7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2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3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</a:t>
                      </a:r>
                      <a:b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8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5479063"/>
                  </a:ext>
                </a:extLst>
              </a:tr>
            </a:tbl>
          </a:graphicData>
        </a:graphic>
      </p:graphicFrame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4B4ACB4C-256C-FBED-D0A8-7B28979C21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9644264"/>
              </p:ext>
            </p:extLst>
          </p:nvPr>
        </p:nvGraphicFramePr>
        <p:xfrm>
          <a:off x="604838" y="1774472"/>
          <a:ext cx="5468081" cy="22586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823F1710-6202-2131-30F2-B127E8D06997}"/>
              </a:ext>
            </a:extLst>
          </p:cNvPr>
          <p:cNvCxnSpPr>
            <a:cxnSpLocks/>
          </p:cNvCxnSpPr>
          <p:nvPr/>
        </p:nvCxnSpPr>
        <p:spPr>
          <a:xfrm>
            <a:off x="2477078" y="1893094"/>
            <a:ext cx="0" cy="1707356"/>
          </a:xfrm>
          <a:prstGeom prst="line">
            <a:avLst/>
          </a:prstGeom>
          <a:ln w="12700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reihandform: Form 31">
            <a:extLst>
              <a:ext uri="{FF2B5EF4-FFF2-40B4-BE49-F238E27FC236}">
                <a16:creationId xmlns:a16="http://schemas.microsoft.com/office/drawing/2014/main" id="{A5D43467-F91D-CD7D-5302-40F92DB2122A}"/>
              </a:ext>
            </a:extLst>
          </p:cNvPr>
          <p:cNvSpPr/>
          <p:nvPr/>
        </p:nvSpPr>
        <p:spPr>
          <a:xfrm>
            <a:off x="1843088" y="1862831"/>
            <a:ext cx="4062432" cy="642188"/>
          </a:xfrm>
          <a:custGeom>
            <a:avLst/>
            <a:gdLst>
              <a:gd name="connsiteX0" fmla="*/ 0 w 4062432"/>
              <a:gd name="connsiteY0" fmla="*/ 0 h 642188"/>
              <a:gd name="connsiteX1" fmla="*/ 51839 w 4062432"/>
              <a:gd name="connsiteY1" fmla="*/ 0 h 642188"/>
              <a:gd name="connsiteX2" fmla="*/ 53545 w 4062432"/>
              <a:gd name="connsiteY2" fmla="*/ 0 h 642188"/>
              <a:gd name="connsiteX3" fmla="*/ 77692 w 4062432"/>
              <a:gd name="connsiteY3" fmla="*/ 0 h 642188"/>
              <a:gd name="connsiteX4" fmla="*/ 79398 w 4062432"/>
              <a:gd name="connsiteY4" fmla="*/ 0 h 642188"/>
              <a:gd name="connsiteX5" fmla="*/ 98428 w 4062432"/>
              <a:gd name="connsiteY5" fmla="*/ 0 h 642188"/>
              <a:gd name="connsiteX6" fmla="*/ 134649 w 4062432"/>
              <a:gd name="connsiteY6" fmla="*/ 0 h 642188"/>
              <a:gd name="connsiteX7" fmla="*/ 160503 w 4062432"/>
              <a:gd name="connsiteY7" fmla="*/ 0 h 642188"/>
              <a:gd name="connsiteX8" fmla="*/ 196724 w 4062432"/>
              <a:gd name="connsiteY8" fmla="*/ 0 h 642188"/>
              <a:gd name="connsiteX9" fmla="*/ 353814 w 4062432"/>
              <a:gd name="connsiteY9" fmla="*/ 0 h 642188"/>
              <a:gd name="connsiteX10" fmla="*/ 383080 w 4062432"/>
              <a:gd name="connsiteY10" fmla="*/ 0 h 642188"/>
              <a:gd name="connsiteX11" fmla="*/ 396991 w 4062432"/>
              <a:gd name="connsiteY11" fmla="*/ 0 h 642188"/>
              <a:gd name="connsiteX12" fmla="*/ 440037 w 4062432"/>
              <a:gd name="connsiteY12" fmla="*/ 0 h 642188"/>
              <a:gd name="connsiteX13" fmla="*/ 440037 w 4062432"/>
              <a:gd name="connsiteY13" fmla="*/ 7474 h 642188"/>
              <a:gd name="connsiteX14" fmla="*/ 488332 w 4062432"/>
              <a:gd name="connsiteY14" fmla="*/ 7474 h 642188"/>
              <a:gd name="connsiteX15" fmla="*/ 488332 w 4062432"/>
              <a:gd name="connsiteY15" fmla="*/ 14948 h 642188"/>
              <a:gd name="connsiteX16" fmla="*/ 524553 w 4062432"/>
              <a:gd name="connsiteY16" fmla="*/ 14948 h 642188"/>
              <a:gd name="connsiteX17" fmla="*/ 524553 w 4062432"/>
              <a:gd name="connsiteY17" fmla="*/ 22423 h 642188"/>
              <a:gd name="connsiteX18" fmla="*/ 533346 w 4062432"/>
              <a:gd name="connsiteY18" fmla="*/ 22423 h 642188"/>
              <a:gd name="connsiteX19" fmla="*/ 533346 w 4062432"/>
              <a:gd name="connsiteY19" fmla="*/ 30093 h 642188"/>
              <a:gd name="connsiteX20" fmla="*/ 543714 w 4062432"/>
              <a:gd name="connsiteY20" fmla="*/ 30093 h 642188"/>
              <a:gd name="connsiteX21" fmla="*/ 543714 w 4062432"/>
              <a:gd name="connsiteY21" fmla="*/ 37568 h 642188"/>
              <a:gd name="connsiteX22" fmla="*/ 616156 w 4062432"/>
              <a:gd name="connsiteY22" fmla="*/ 37568 h 642188"/>
              <a:gd name="connsiteX23" fmla="*/ 616156 w 4062432"/>
              <a:gd name="connsiteY23" fmla="*/ 45042 h 642188"/>
              <a:gd name="connsiteX24" fmla="*/ 617863 w 4062432"/>
              <a:gd name="connsiteY24" fmla="*/ 45042 h 642188"/>
              <a:gd name="connsiteX25" fmla="*/ 617863 w 4062432"/>
              <a:gd name="connsiteY25" fmla="*/ 52516 h 642188"/>
              <a:gd name="connsiteX26" fmla="*/ 642010 w 4062432"/>
              <a:gd name="connsiteY26" fmla="*/ 52516 h 642188"/>
              <a:gd name="connsiteX27" fmla="*/ 642010 w 4062432"/>
              <a:gd name="connsiteY27" fmla="*/ 59990 h 642188"/>
              <a:gd name="connsiteX28" fmla="*/ 643716 w 4062432"/>
              <a:gd name="connsiteY28" fmla="*/ 59990 h 642188"/>
              <a:gd name="connsiteX29" fmla="*/ 645553 w 4062432"/>
              <a:gd name="connsiteY29" fmla="*/ 59990 h 642188"/>
              <a:gd name="connsiteX30" fmla="*/ 647128 w 4062432"/>
              <a:gd name="connsiteY30" fmla="*/ 59990 h 642188"/>
              <a:gd name="connsiteX31" fmla="*/ 650672 w 4062432"/>
              <a:gd name="connsiteY31" fmla="*/ 59990 h 642188"/>
              <a:gd name="connsiteX32" fmla="*/ 657496 w 4062432"/>
              <a:gd name="connsiteY32" fmla="*/ 59990 h 642188"/>
              <a:gd name="connsiteX33" fmla="*/ 657496 w 4062432"/>
              <a:gd name="connsiteY33" fmla="*/ 67661 h 642188"/>
              <a:gd name="connsiteX34" fmla="*/ 697261 w 4062432"/>
              <a:gd name="connsiteY34" fmla="*/ 67661 h 642188"/>
              <a:gd name="connsiteX35" fmla="*/ 704216 w 4062432"/>
              <a:gd name="connsiteY35" fmla="*/ 67661 h 642188"/>
              <a:gd name="connsiteX36" fmla="*/ 709334 w 4062432"/>
              <a:gd name="connsiteY36" fmla="*/ 67661 h 642188"/>
              <a:gd name="connsiteX37" fmla="*/ 709334 w 4062432"/>
              <a:gd name="connsiteY37" fmla="*/ 75332 h 642188"/>
              <a:gd name="connsiteX38" fmla="*/ 730070 w 4062432"/>
              <a:gd name="connsiteY38" fmla="*/ 75332 h 642188"/>
              <a:gd name="connsiteX39" fmla="*/ 743850 w 4062432"/>
              <a:gd name="connsiteY39" fmla="*/ 75332 h 642188"/>
              <a:gd name="connsiteX40" fmla="*/ 767997 w 4062432"/>
              <a:gd name="connsiteY40" fmla="*/ 75332 h 642188"/>
              <a:gd name="connsiteX41" fmla="*/ 787027 w 4062432"/>
              <a:gd name="connsiteY41" fmla="*/ 75332 h 642188"/>
              <a:gd name="connsiteX42" fmla="*/ 788733 w 4062432"/>
              <a:gd name="connsiteY42" fmla="*/ 75332 h 642188"/>
              <a:gd name="connsiteX43" fmla="*/ 793851 w 4062432"/>
              <a:gd name="connsiteY43" fmla="*/ 75332 h 642188"/>
              <a:gd name="connsiteX44" fmla="*/ 793851 w 4062432"/>
              <a:gd name="connsiteY44" fmla="*/ 83199 h 642188"/>
              <a:gd name="connsiteX45" fmla="*/ 806056 w 4062432"/>
              <a:gd name="connsiteY45" fmla="*/ 83199 h 642188"/>
              <a:gd name="connsiteX46" fmla="*/ 806056 w 4062432"/>
              <a:gd name="connsiteY46" fmla="*/ 91264 h 642188"/>
              <a:gd name="connsiteX47" fmla="*/ 807631 w 4062432"/>
              <a:gd name="connsiteY47" fmla="*/ 91264 h 642188"/>
              <a:gd name="connsiteX48" fmla="*/ 830072 w 4062432"/>
              <a:gd name="connsiteY48" fmla="*/ 91264 h 642188"/>
              <a:gd name="connsiteX49" fmla="*/ 830072 w 4062432"/>
              <a:gd name="connsiteY49" fmla="*/ 99131 h 642188"/>
              <a:gd name="connsiteX50" fmla="*/ 833484 w 4062432"/>
              <a:gd name="connsiteY50" fmla="*/ 99131 h 642188"/>
              <a:gd name="connsiteX51" fmla="*/ 833484 w 4062432"/>
              <a:gd name="connsiteY51" fmla="*/ 106999 h 642188"/>
              <a:gd name="connsiteX52" fmla="*/ 857763 w 4062432"/>
              <a:gd name="connsiteY52" fmla="*/ 106999 h 642188"/>
              <a:gd name="connsiteX53" fmla="*/ 857763 w 4062432"/>
              <a:gd name="connsiteY53" fmla="*/ 115063 h 642188"/>
              <a:gd name="connsiteX54" fmla="*/ 904352 w 4062432"/>
              <a:gd name="connsiteY54" fmla="*/ 115063 h 642188"/>
              <a:gd name="connsiteX55" fmla="*/ 909471 w 4062432"/>
              <a:gd name="connsiteY55" fmla="*/ 115063 h 642188"/>
              <a:gd name="connsiteX56" fmla="*/ 909471 w 4062432"/>
              <a:gd name="connsiteY56" fmla="*/ 123127 h 642188"/>
              <a:gd name="connsiteX57" fmla="*/ 942280 w 4062432"/>
              <a:gd name="connsiteY57" fmla="*/ 123127 h 642188"/>
              <a:gd name="connsiteX58" fmla="*/ 942280 w 4062432"/>
              <a:gd name="connsiteY58" fmla="*/ 130995 h 642188"/>
              <a:gd name="connsiteX59" fmla="*/ 950941 w 4062432"/>
              <a:gd name="connsiteY59" fmla="*/ 130995 h 642188"/>
              <a:gd name="connsiteX60" fmla="*/ 954485 w 4062432"/>
              <a:gd name="connsiteY60" fmla="*/ 130995 h 642188"/>
              <a:gd name="connsiteX61" fmla="*/ 954485 w 4062432"/>
              <a:gd name="connsiteY61" fmla="*/ 139059 h 642188"/>
              <a:gd name="connsiteX62" fmla="*/ 978501 w 4062432"/>
              <a:gd name="connsiteY62" fmla="*/ 139059 h 642188"/>
              <a:gd name="connsiteX63" fmla="*/ 978501 w 4062432"/>
              <a:gd name="connsiteY63" fmla="*/ 147123 h 642188"/>
              <a:gd name="connsiteX64" fmla="*/ 987163 w 4062432"/>
              <a:gd name="connsiteY64" fmla="*/ 147123 h 642188"/>
              <a:gd name="connsiteX65" fmla="*/ 987163 w 4062432"/>
              <a:gd name="connsiteY65" fmla="*/ 155187 h 642188"/>
              <a:gd name="connsiteX66" fmla="*/ 1045825 w 4062432"/>
              <a:gd name="connsiteY66" fmla="*/ 155187 h 642188"/>
              <a:gd name="connsiteX67" fmla="*/ 1045825 w 4062432"/>
              <a:gd name="connsiteY67" fmla="*/ 163252 h 642188"/>
              <a:gd name="connsiteX68" fmla="*/ 1050944 w 4062432"/>
              <a:gd name="connsiteY68" fmla="*/ 163252 h 642188"/>
              <a:gd name="connsiteX69" fmla="*/ 1057899 w 4062432"/>
              <a:gd name="connsiteY69" fmla="*/ 163252 h 642188"/>
              <a:gd name="connsiteX70" fmla="*/ 1057899 w 4062432"/>
              <a:gd name="connsiteY70" fmla="*/ 171316 h 642188"/>
              <a:gd name="connsiteX71" fmla="*/ 1083753 w 4062432"/>
              <a:gd name="connsiteY71" fmla="*/ 171316 h 642188"/>
              <a:gd name="connsiteX72" fmla="*/ 1083753 w 4062432"/>
              <a:gd name="connsiteY72" fmla="*/ 179380 h 642188"/>
              <a:gd name="connsiteX73" fmla="*/ 1130342 w 4062432"/>
              <a:gd name="connsiteY73" fmla="*/ 179380 h 642188"/>
              <a:gd name="connsiteX74" fmla="*/ 1130342 w 4062432"/>
              <a:gd name="connsiteY74" fmla="*/ 187444 h 642188"/>
              <a:gd name="connsiteX75" fmla="*/ 1168401 w 4062432"/>
              <a:gd name="connsiteY75" fmla="*/ 187444 h 642188"/>
              <a:gd name="connsiteX76" fmla="*/ 1168401 w 4062432"/>
              <a:gd name="connsiteY76" fmla="*/ 195509 h 642188"/>
              <a:gd name="connsiteX77" fmla="*/ 1173519 w 4062432"/>
              <a:gd name="connsiteY77" fmla="*/ 195509 h 642188"/>
              <a:gd name="connsiteX78" fmla="*/ 1173519 w 4062432"/>
              <a:gd name="connsiteY78" fmla="*/ 203573 h 642188"/>
              <a:gd name="connsiteX79" fmla="*/ 1177062 w 4062432"/>
              <a:gd name="connsiteY79" fmla="*/ 203573 h 642188"/>
              <a:gd name="connsiteX80" fmla="*/ 1177062 w 4062432"/>
              <a:gd name="connsiteY80" fmla="*/ 219701 h 642188"/>
              <a:gd name="connsiteX81" fmla="*/ 1195960 w 4062432"/>
              <a:gd name="connsiteY81" fmla="*/ 219701 h 642188"/>
              <a:gd name="connsiteX82" fmla="*/ 1195960 w 4062432"/>
              <a:gd name="connsiteY82" fmla="*/ 227765 h 642188"/>
              <a:gd name="connsiteX83" fmla="*/ 1199372 w 4062432"/>
              <a:gd name="connsiteY83" fmla="*/ 227765 h 642188"/>
              <a:gd name="connsiteX84" fmla="*/ 1199372 w 4062432"/>
              <a:gd name="connsiteY84" fmla="*/ 236026 h 642188"/>
              <a:gd name="connsiteX85" fmla="*/ 1201078 w 4062432"/>
              <a:gd name="connsiteY85" fmla="*/ 236026 h 642188"/>
              <a:gd name="connsiteX86" fmla="*/ 1201078 w 4062432"/>
              <a:gd name="connsiteY86" fmla="*/ 244091 h 642188"/>
              <a:gd name="connsiteX87" fmla="*/ 1209740 w 4062432"/>
              <a:gd name="connsiteY87" fmla="*/ 244091 h 642188"/>
              <a:gd name="connsiteX88" fmla="*/ 1220108 w 4062432"/>
              <a:gd name="connsiteY88" fmla="*/ 244091 h 642188"/>
              <a:gd name="connsiteX89" fmla="*/ 1220108 w 4062432"/>
              <a:gd name="connsiteY89" fmla="*/ 252155 h 642188"/>
              <a:gd name="connsiteX90" fmla="*/ 1347801 w 4062432"/>
              <a:gd name="connsiteY90" fmla="*/ 252155 h 642188"/>
              <a:gd name="connsiteX91" fmla="*/ 1365124 w 4062432"/>
              <a:gd name="connsiteY91" fmla="*/ 252155 h 642188"/>
              <a:gd name="connsiteX92" fmla="*/ 1365124 w 4062432"/>
              <a:gd name="connsiteY92" fmla="*/ 260416 h 642188"/>
              <a:gd name="connsiteX93" fmla="*/ 1396096 w 4062432"/>
              <a:gd name="connsiteY93" fmla="*/ 260416 h 642188"/>
              <a:gd name="connsiteX94" fmla="*/ 1396096 w 4062432"/>
              <a:gd name="connsiteY94" fmla="*/ 268480 h 642188"/>
              <a:gd name="connsiteX95" fmla="*/ 1413419 w 4062432"/>
              <a:gd name="connsiteY95" fmla="*/ 268480 h 642188"/>
              <a:gd name="connsiteX96" fmla="*/ 1413419 w 4062432"/>
              <a:gd name="connsiteY96" fmla="*/ 276741 h 642188"/>
              <a:gd name="connsiteX97" fmla="*/ 1421950 w 4062432"/>
              <a:gd name="connsiteY97" fmla="*/ 276741 h 642188"/>
              <a:gd name="connsiteX98" fmla="*/ 1421950 w 4062432"/>
              <a:gd name="connsiteY98" fmla="*/ 285002 h 642188"/>
              <a:gd name="connsiteX99" fmla="*/ 1447935 w 4062432"/>
              <a:gd name="connsiteY99" fmla="*/ 285002 h 642188"/>
              <a:gd name="connsiteX100" fmla="*/ 1447935 w 4062432"/>
              <a:gd name="connsiteY100" fmla="*/ 293263 h 642188"/>
              <a:gd name="connsiteX101" fmla="*/ 1492818 w 4062432"/>
              <a:gd name="connsiteY101" fmla="*/ 293263 h 642188"/>
              <a:gd name="connsiteX102" fmla="*/ 1492818 w 4062432"/>
              <a:gd name="connsiteY102" fmla="*/ 301327 h 642188"/>
              <a:gd name="connsiteX103" fmla="*/ 1575628 w 4062432"/>
              <a:gd name="connsiteY103" fmla="*/ 301327 h 642188"/>
              <a:gd name="connsiteX104" fmla="*/ 1575628 w 4062432"/>
              <a:gd name="connsiteY104" fmla="*/ 309588 h 642188"/>
              <a:gd name="connsiteX105" fmla="*/ 1653320 w 4062432"/>
              <a:gd name="connsiteY105" fmla="*/ 309588 h 642188"/>
              <a:gd name="connsiteX106" fmla="*/ 1653320 w 4062432"/>
              <a:gd name="connsiteY106" fmla="*/ 317849 h 642188"/>
              <a:gd name="connsiteX107" fmla="*/ 1694660 w 4062432"/>
              <a:gd name="connsiteY107" fmla="*/ 317849 h 642188"/>
              <a:gd name="connsiteX108" fmla="*/ 1694660 w 4062432"/>
              <a:gd name="connsiteY108" fmla="*/ 326110 h 642188"/>
              <a:gd name="connsiteX109" fmla="*/ 1753323 w 4062432"/>
              <a:gd name="connsiteY109" fmla="*/ 326110 h 642188"/>
              <a:gd name="connsiteX110" fmla="*/ 1803455 w 4062432"/>
              <a:gd name="connsiteY110" fmla="*/ 326110 h 642188"/>
              <a:gd name="connsiteX111" fmla="*/ 1803455 w 4062432"/>
              <a:gd name="connsiteY111" fmla="*/ 334371 h 642188"/>
              <a:gd name="connsiteX112" fmla="*/ 1829309 w 4062432"/>
              <a:gd name="connsiteY112" fmla="*/ 334371 h 642188"/>
              <a:gd name="connsiteX113" fmla="*/ 1836133 w 4062432"/>
              <a:gd name="connsiteY113" fmla="*/ 334371 h 642188"/>
              <a:gd name="connsiteX114" fmla="*/ 1848338 w 4062432"/>
              <a:gd name="connsiteY114" fmla="*/ 334371 h 642188"/>
              <a:gd name="connsiteX115" fmla="*/ 1874192 w 4062432"/>
              <a:gd name="connsiteY115" fmla="*/ 334371 h 642188"/>
              <a:gd name="connsiteX116" fmla="*/ 1874192 w 4062432"/>
              <a:gd name="connsiteY116" fmla="*/ 342828 h 642188"/>
              <a:gd name="connsiteX117" fmla="*/ 1939810 w 4062432"/>
              <a:gd name="connsiteY117" fmla="*/ 342828 h 642188"/>
              <a:gd name="connsiteX118" fmla="*/ 1939810 w 4062432"/>
              <a:gd name="connsiteY118" fmla="*/ 351089 h 642188"/>
              <a:gd name="connsiteX119" fmla="*/ 1970782 w 4062432"/>
              <a:gd name="connsiteY119" fmla="*/ 351089 h 642188"/>
              <a:gd name="connsiteX120" fmla="*/ 1970782 w 4062432"/>
              <a:gd name="connsiteY120" fmla="*/ 359547 h 642188"/>
              <a:gd name="connsiteX121" fmla="*/ 2031282 w 4062432"/>
              <a:gd name="connsiteY121" fmla="*/ 359547 h 642188"/>
              <a:gd name="connsiteX122" fmla="*/ 2031282 w 4062432"/>
              <a:gd name="connsiteY122" fmla="*/ 368005 h 642188"/>
              <a:gd name="connsiteX123" fmla="*/ 2043225 w 4062432"/>
              <a:gd name="connsiteY123" fmla="*/ 368005 h 642188"/>
              <a:gd name="connsiteX124" fmla="*/ 2162388 w 4062432"/>
              <a:gd name="connsiteY124" fmla="*/ 368005 h 642188"/>
              <a:gd name="connsiteX125" fmla="*/ 2264227 w 4062432"/>
              <a:gd name="connsiteY125" fmla="*/ 368005 h 642188"/>
              <a:gd name="connsiteX126" fmla="*/ 2264227 w 4062432"/>
              <a:gd name="connsiteY126" fmla="*/ 376462 h 642188"/>
              <a:gd name="connsiteX127" fmla="*/ 2331552 w 4062432"/>
              <a:gd name="connsiteY127" fmla="*/ 376462 h 642188"/>
              <a:gd name="connsiteX128" fmla="*/ 2379847 w 4062432"/>
              <a:gd name="connsiteY128" fmla="*/ 376462 h 642188"/>
              <a:gd name="connsiteX129" fmla="*/ 2393627 w 4062432"/>
              <a:gd name="connsiteY129" fmla="*/ 376462 h 642188"/>
              <a:gd name="connsiteX130" fmla="*/ 2398745 w 4062432"/>
              <a:gd name="connsiteY130" fmla="*/ 376462 h 642188"/>
              <a:gd name="connsiteX131" fmla="*/ 2398745 w 4062432"/>
              <a:gd name="connsiteY131" fmla="*/ 385116 h 642188"/>
              <a:gd name="connsiteX132" fmla="*/ 2405700 w 4062432"/>
              <a:gd name="connsiteY132" fmla="*/ 385116 h 642188"/>
              <a:gd name="connsiteX133" fmla="*/ 2492054 w 4062432"/>
              <a:gd name="connsiteY133" fmla="*/ 385116 h 642188"/>
              <a:gd name="connsiteX134" fmla="*/ 2492054 w 4062432"/>
              <a:gd name="connsiteY134" fmla="*/ 393771 h 642188"/>
              <a:gd name="connsiteX135" fmla="*/ 2549011 w 4062432"/>
              <a:gd name="connsiteY135" fmla="*/ 393771 h 642188"/>
              <a:gd name="connsiteX136" fmla="*/ 2549011 w 4062432"/>
              <a:gd name="connsiteY136" fmla="*/ 402622 h 642188"/>
              <a:gd name="connsiteX137" fmla="*/ 2554129 w 4062432"/>
              <a:gd name="connsiteY137" fmla="*/ 402622 h 642188"/>
              <a:gd name="connsiteX138" fmla="*/ 2554129 w 4062432"/>
              <a:gd name="connsiteY138" fmla="*/ 411276 h 642188"/>
              <a:gd name="connsiteX139" fmla="*/ 2619747 w 4062432"/>
              <a:gd name="connsiteY139" fmla="*/ 411276 h 642188"/>
              <a:gd name="connsiteX140" fmla="*/ 2619747 w 4062432"/>
              <a:gd name="connsiteY140" fmla="*/ 419930 h 642188"/>
              <a:gd name="connsiteX141" fmla="*/ 2628278 w 4062432"/>
              <a:gd name="connsiteY141" fmla="*/ 419930 h 642188"/>
              <a:gd name="connsiteX142" fmla="*/ 2666337 w 4062432"/>
              <a:gd name="connsiteY142" fmla="*/ 419930 h 642188"/>
              <a:gd name="connsiteX143" fmla="*/ 2666337 w 4062432"/>
              <a:gd name="connsiteY143" fmla="*/ 428781 h 642188"/>
              <a:gd name="connsiteX144" fmla="*/ 2723293 w 4062432"/>
              <a:gd name="connsiteY144" fmla="*/ 428781 h 642188"/>
              <a:gd name="connsiteX145" fmla="*/ 2723293 w 4062432"/>
              <a:gd name="connsiteY145" fmla="*/ 437632 h 642188"/>
              <a:gd name="connsiteX146" fmla="*/ 2799148 w 4062432"/>
              <a:gd name="connsiteY146" fmla="*/ 437632 h 642188"/>
              <a:gd name="connsiteX147" fmla="*/ 2799148 w 4062432"/>
              <a:gd name="connsiteY147" fmla="*/ 446287 h 642188"/>
              <a:gd name="connsiteX148" fmla="*/ 2804398 w 4062432"/>
              <a:gd name="connsiteY148" fmla="*/ 446287 h 642188"/>
              <a:gd name="connsiteX149" fmla="*/ 2804398 w 4062432"/>
              <a:gd name="connsiteY149" fmla="*/ 455138 h 642188"/>
              <a:gd name="connsiteX150" fmla="*/ 2811353 w 4062432"/>
              <a:gd name="connsiteY150" fmla="*/ 455138 h 642188"/>
              <a:gd name="connsiteX151" fmla="*/ 2811353 w 4062432"/>
              <a:gd name="connsiteY151" fmla="*/ 463989 h 642188"/>
              <a:gd name="connsiteX152" fmla="*/ 2837207 w 4062432"/>
              <a:gd name="connsiteY152" fmla="*/ 463989 h 642188"/>
              <a:gd name="connsiteX153" fmla="*/ 2854530 w 4062432"/>
              <a:gd name="connsiteY153" fmla="*/ 463989 h 642188"/>
              <a:gd name="connsiteX154" fmla="*/ 2887208 w 4062432"/>
              <a:gd name="connsiteY154" fmla="*/ 463989 h 642188"/>
              <a:gd name="connsiteX155" fmla="*/ 2890620 w 4062432"/>
              <a:gd name="connsiteY155" fmla="*/ 463989 h 642188"/>
              <a:gd name="connsiteX156" fmla="*/ 2892326 w 4062432"/>
              <a:gd name="connsiteY156" fmla="*/ 463989 h 642188"/>
              <a:gd name="connsiteX157" fmla="*/ 2900988 w 4062432"/>
              <a:gd name="connsiteY157" fmla="*/ 463989 h 642188"/>
              <a:gd name="connsiteX158" fmla="*/ 2913193 w 4062432"/>
              <a:gd name="connsiteY158" fmla="*/ 463989 h 642188"/>
              <a:gd name="connsiteX159" fmla="*/ 2916605 w 4062432"/>
              <a:gd name="connsiteY159" fmla="*/ 463989 h 642188"/>
              <a:gd name="connsiteX160" fmla="*/ 2920017 w 4062432"/>
              <a:gd name="connsiteY160" fmla="*/ 463989 h 642188"/>
              <a:gd name="connsiteX161" fmla="*/ 2925135 w 4062432"/>
              <a:gd name="connsiteY161" fmla="*/ 463989 h 642188"/>
              <a:gd name="connsiteX162" fmla="*/ 2928679 w 4062432"/>
              <a:gd name="connsiteY162" fmla="*/ 463989 h 642188"/>
              <a:gd name="connsiteX163" fmla="*/ 2932091 w 4062432"/>
              <a:gd name="connsiteY163" fmla="*/ 463989 h 642188"/>
              <a:gd name="connsiteX164" fmla="*/ 2939046 w 4062432"/>
              <a:gd name="connsiteY164" fmla="*/ 463989 h 642188"/>
              <a:gd name="connsiteX165" fmla="*/ 2940621 w 4062432"/>
              <a:gd name="connsiteY165" fmla="*/ 463989 h 642188"/>
              <a:gd name="connsiteX166" fmla="*/ 2942459 w 4062432"/>
              <a:gd name="connsiteY166" fmla="*/ 463989 h 642188"/>
              <a:gd name="connsiteX167" fmla="*/ 2944165 w 4062432"/>
              <a:gd name="connsiteY167" fmla="*/ 463989 h 642188"/>
              <a:gd name="connsiteX168" fmla="*/ 2945871 w 4062432"/>
              <a:gd name="connsiteY168" fmla="*/ 463989 h 642188"/>
              <a:gd name="connsiteX169" fmla="*/ 2956238 w 4062432"/>
              <a:gd name="connsiteY169" fmla="*/ 463989 h 642188"/>
              <a:gd name="connsiteX170" fmla="*/ 2990754 w 4062432"/>
              <a:gd name="connsiteY170" fmla="*/ 463989 h 642188"/>
              <a:gd name="connsiteX171" fmla="*/ 3033931 w 4062432"/>
              <a:gd name="connsiteY171" fmla="*/ 463989 h 642188"/>
              <a:gd name="connsiteX172" fmla="*/ 3033931 w 4062432"/>
              <a:gd name="connsiteY172" fmla="*/ 474216 h 642188"/>
              <a:gd name="connsiteX173" fmla="*/ 3049417 w 4062432"/>
              <a:gd name="connsiteY173" fmla="*/ 474216 h 642188"/>
              <a:gd name="connsiteX174" fmla="*/ 3054666 w 4062432"/>
              <a:gd name="connsiteY174" fmla="*/ 474216 h 642188"/>
              <a:gd name="connsiteX175" fmla="*/ 3059784 w 4062432"/>
              <a:gd name="connsiteY175" fmla="*/ 474216 h 642188"/>
              <a:gd name="connsiteX176" fmla="*/ 3075270 w 4062432"/>
              <a:gd name="connsiteY176" fmla="*/ 474216 h 642188"/>
              <a:gd name="connsiteX177" fmla="*/ 3082226 w 4062432"/>
              <a:gd name="connsiteY177" fmla="*/ 474216 h 642188"/>
              <a:gd name="connsiteX178" fmla="*/ 3083932 w 4062432"/>
              <a:gd name="connsiteY178" fmla="*/ 474216 h 642188"/>
              <a:gd name="connsiteX179" fmla="*/ 3090887 w 4062432"/>
              <a:gd name="connsiteY179" fmla="*/ 474216 h 642188"/>
              <a:gd name="connsiteX180" fmla="*/ 3106373 w 4062432"/>
              <a:gd name="connsiteY180" fmla="*/ 474216 h 642188"/>
              <a:gd name="connsiteX181" fmla="*/ 3111491 w 4062432"/>
              <a:gd name="connsiteY181" fmla="*/ 474216 h 642188"/>
              <a:gd name="connsiteX182" fmla="*/ 3118447 w 4062432"/>
              <a:gd name="connsiteY182" fmla="*/ 474216 h 642188"/>
              <a:gd name="connsiteX183" fmla="*/ 3125403 w 4062432"/>
              <a:gd name="connsiteY183" fmla="*/ 474216 h 642188"/>
              <a:gd name="connsiteX184" fmla="*/ 3128815 w 4062432"/>
              <a:gd name="connsiteY184" fmla="*/ 474216 h 642188"/>
              <a:gd name="connsiteX185" fmla="*/ 3135770 w 4062432"/>
              <a:gd name="connsiteY185" fmla="*/ 474216 h 642188"/>
              <a:gd name="connsiteX186" fmla="*/ 3140889 w 4062432"/>
              <a:gd name="connsiteY186" fmla="*/ 474216 h 642188"/>
              <a:gd name="connsiteX187" fmla="*/ 3144301 w 4062432"/>
              <a:gd name="connsiteY187" fmla="*/ 474216 h 642188"/>
              <a:gd name="connsiteX188" fmla="*/ 3156506 w 4062432"/>
              <a:gd name="connsiteY188" fmla="*/ 474216 h 642188"/>
              <a:gd name="connsiteX189" fmla="*/ 3177110 w 4062432"/>
              <a:gd name="connsiteY189" fmla="*/ 474216 h 642188"/>
              <a:gd name="connsiteX190" fmla="*/ 3178816 w 4062432"/>
              <a:gd name="connsiteY190" fmla="*/ 474216 h 642188"/>
              <a:gd name="connsiteX191" fmla="*/ 3180522 w 4062432"/>
              <a:gd name="connsiteY191" fmla="*/ 474216 h 642188"/>
              <a:gd name="connsiteX192" fmla="*/ 3183934 w 4062432"/>
              <a:gd name="connsiteY192" fmla="*/ 474216 h 642188"/>
              <a:gd name="connsiteX193" fmla="*/ 3185772 w 4062432"/>
              <a:gd name="connsiteY193" fmla="*/ 474216 h 642188"/>
              <a:gd name="connsiteX194" fmla="*/ 3190890 w 4062432"/>
              <a:gd name="connsiteY194" fmla="*/ 474216 h 642188"/>
              <a:gd name="connsiteX195" fmla="*/ 3192727 w 4062432"/>
              <a:gd name="connsiteY195" fmla="*/ 474216 h 642188"/>
              <a:gd name="connsiteX196" fmla="*/ 3196139 w 4062432"/>
              <a:gd name="connsiteY196" fmla="*/ 474216 h 642188"/>
              <a:gd name="connsiteX197" fmla="*/ 3203095 w 4062432"/>
              <a:gd name="connsiteY197" fmla="*/ 474216 h 642188"/>
              <a:gd name="connsiteX198" fmla="*/ 3208213 w 4062432"/>
              <a:gd name="connsiteY198" fmla="*/ 474216 h 642188"/>
              <a:gd name="connsiteX199" fmla="*/ 3209919 w 4062432"/>
              <a:gd name="connsiteY199" fmla="*/ 474216 h 642188"/>
              <a:gd name="connsiteX200" fmla="*/ 3221993 w 4062432"/>
              <a:gd name="connsiteY200" fmla="*/ 474216 h 642188"/>
              <a:gd name="connsiteX201" fmla="*/ 3225536 w 4062432"/>
              <a:gd name="connsiteY201" fmla="*/ 474216 h 642188"/>
              <a:gd name="connsiteX202" fmla="*/ 3235904 w 4062432"/>
              <a:gd name="connsiteY202" fmla="*/ 474216 h 642188"/>
              <a:gd name="connsiteX203" fmla="*/ 3235904 w 4062432"/>
              <a:gd name="connsiteY203" fmla="*/ 489165 h 642188"/>
              <a:gd name="connsiteX204" fmla="*/ 3239185 w 4062432"/>
              <a:gd name="connsiteY204" fmla="*/ 489165 h 642188"/>
              <a:gd name="connsiteX205" fmla="*/ 3239185 w 4062432"/>
              <a:gd name="connsiteY205" fmla="*/ 504310 h 642188"/>
              <a:gd name="connsiteX206" fmla="*/ 3247846 w 4062432"/>
              <a:gd name="connsiteY206" fmla="*/ 504310 h 642188"/>
              <a:gd name="connsiteX207" fmla="*/ 3289317 w 4062432"/>
              <a:gd name="connsiteY207" fmla="*/ 504310 h 642188"/>
              <a:gd name="connsiteX208" fmla="*/ 3311759 w 4062432"/>
              <a:gd name="connsiteY208" fmla="*/ 504310 h 642188"/>
              <a:gd name="connsiteX209" fmla="*/ 3313465 w 4062432"/>
              <a:gd name="connsiteY209" fmla="*/ 504310 h 642188"/>
              <a:gd name="connsiteX210" fmla="*/ 3318583 w 4062432"/>
              <a:gd name="connsiteY210" fmla="*/ 504310 h 642188"/>
              <a:gd name="connsiteX211" fmla="*/ 3321995 w 4062432"/>
              <a:gd name="connsiteY211" fmla="*/ 504310 h 642188"/>
              <a:gd name="connsiteX212" fmla="*/ 3335906 w 4062432"/>
              <a:gd name="connsiteY212" fmla="*/ 504310 h 642188"/>
              <a:gd name="connsiteX213" fmla="*/ 3356642 w 4062432"/>
              <a:gd name="connsiteY213" fmla="*/ 504310 h 642188"/>
              <a:gd name="connsiteX214" fmla="*/ 3377377 w 4062432"/>
              <a:gd name="connsiteY214" fmla="*/ 504310 h 642188"/>
              <a:gd name="connsiteX215" fmla="*/ 3382495 w 4062432"/>
              <a:gd name="connsiteY215" fmla="*/ 504310 h 642188"/>
              <a:gd name="connsiteX216" fmla="*/ 3384201 w 4062432"/>
              <a:gd name="connsiteY216" fmla="*/ 504310 h 642188"/>
              <a:gd name="connsiteX217" fmla="*/ 3385908 w 4062432"/>
              <a:gd name="connsiteY217" fmla="*/ 504310 h 642188"/>
              <a:gd name="connsiteX218" fmla="*/ 3406643 w 4062432"/>
              <a:gd name="connsiteY218" fmla="*/ 504310 h 642188"/>
              <a:gd name="connsiteX219" fmla="*/ 3420423 w 4062432"/>
              <a:gd name="connsiteY219" fmla="*/ 504310 h 642188"/>
              <a:gd name="connsiteX220" fmla="*/ 3422260 w 4062432"/>
              <a:gd name="connsiteY220" fmla="*/ 504310 h 642188"/>
              <a:gd name="connsiteX221" fmla="*/ 3423835 w 4062432"/>
              <a:gd name="connsiteY221" fmla="*/ 504310 h 642188"/>
              <a:gd name="connsiteX222" fmla="*/ 3432628 w 4062432"/>
              <a:gd name="connsiteY222" fmla="*/ 504310 h 642188"/>
              <a:gd name="connsiteX223" fmla="*/ 3439452 w 4062432"/>
              <a:gd name="connsiteY223" fmla="*/ 504310 h 642188"/>
              <a:gd name="connsiteX224" fmla="*/ 3456644 w 4062432"/>
              <a:gd name="connsiteY224" fmla="*/ 504310 h 642188"/>
              <a:gd name="connsiteX225" fmla="*/ 3460056 w 4062432"/>
              <a:gd name="connsiteY225" fmla="*/ 504310 h 642188"/>
              <a:gd name="connsiteX226" fmla="*/ 3461894 w 4062432"/>
              <a:gd name="connsiteY226" fmla="*/ 504310 h 642188"/>
              <a:gd name="connsiteX227" fmla="*/ 3477380 w 4062432"/>
              <a:gd name="connsiteY227" fmla="*/ 504310 h 642188"/>
              <a:gd name="connsiteX228" fmla="*/ 3480923 w 4062432"/>
              <a:gd name="connsiteY228" fmla="*/ 504310 h 642188"/>
              <a:gd name="connsiteX229" fmla="*/ 3491291 w 4062432"/>
              <a:gd name="connsiteY229" fmla="*/ 504310 h 642188"/>
              <a:gd name="connsiteX230" fmla="*/ 3496409 w 4062432"/>
              <a:gd name="connsiteY230" fmla="*/ 504310 h 642188"/>
              <a:gd name="connsiteX231" fmla="*/ 3501658 w 4062432"/>
              <a:gd name="connsiteY231" fmla="*/ 504310 h 642188"/>
              <a:gd name="connsiteX232" fmla="*/ 3505070 w 4062432"/>
              <a:gd name="connsiteY232" fmla="*/ 504310 h 642188"/>
              <a:gd name="connsiteX233" fmla="*/ 3525675 w 4062432"/>
              <a:gd name="connsiteY233" fmla="*/ 504310 h 642188"/>
              <a:gd name="connsiteX234" fmla="*/ 3532630 w 4062432"/>
              <a:gd name="connsiteY234" fmla="*/ 504310 h 642188"/>
              <a:gd name="connsiteX235" fmla="*/ 3551528 w 4062432"/>
              <a:gd name="connsiteY235" fmla="*/ 504310 h 642188"/>
              <a:gd name="connsiteX236" fmla="*/ 3555072 w 4062432"/>
              <a:gd name="connsiteY236" fmla="*/ 504310 h 642188"/>
              <a:gd name="connsiteX237" fmla="*/ 3555072 w 4062432"/>
              <a:gd name="connsiteY237" fmla="*/ 530863 h 642188"/>
              <a:gd name="connsiteX238" fmla="*/ 3556778 w 4062432"/>
              <a:gd name="connsiteY238" fmla="*/ 530863 h 642188"/>
              <a:gd name="connsiteX239" fmla="*/ 3565439 w 4062432"/>
              <a:gd name="connsiteY239" fmla="*/ 530863 h 642188"/>
              <a:gd name="connsiteX240" fmla="*/ 3577513 w 4062432"/>
              <a:gd name="connsiteY240" fmla="*/ 530863 h 642188"/>
              <a:gd name="connsiteX241" fmla="*/ 3591293 w 4062432"/>
              <a:gd name="connsiteY241" fmla="*/ 530863 h 642188"/>
              <a:gd name="connsiteX242" fmla="*/ 3594705 w 4062432"/>
              <a:gd name="connsiteY242" fmla="*/ 530863 h 642188"/>
              <a:gd name="connsiteX243" fmla="*/ 3598117 w 4062432"/>
              <a:gd name="connsiteY243" fmla="*/ 530863 h 642188"/>
              <a:gd name="connsiteX244" fmla="*/ 3612029 w 4062432"/>
              <a:gd name="connsiteY244" fmla="*/ 530863 h 642188"/>
              <a:gd name="connsiteX245" fmla="*/ 3622396 w 4062432"/>
              <a:gd name="connsiteY245" fmla="*/ 530863 h 642188"/>
              <a:gd name="connsiteX246" fmla="*/ 3637882 w 4062432"/>
              <a:gd name="connsiteY246" fmla="*/ 530863 h 642188"/>
              <a:gd name="connsiteX247" fmla="*/ 3643132 w 4062432"/>
              <a:gd name="connsiteY247" fmla="*/ 530863 h 642188"/>
              <a:gd name="connsiteX248" fmla="*/ 3662030 w 4062432"/>
              <a:gd name="connsiteY248" fmla="*/ 530863 h 642188"/>
              <a:gd name="connsiteX249" fmla="*/ 3681059 w 4062432"/>
              <a:gd name="connsiteY249" fmla="*/ 530863 h 642188"/>
              <a:gd name="connsiteX250" fmla="*/ 3699957 w 4062432"/>
              <a:gd name="connsiteY250" fmla="*/ 530863 h 642188"/>
              <a:gd name="connsiteX251" fmla="*/ 3703501 w 4062432"/>
              <a:gd name="connsiteY251" fmla="*/ 530863 h 642188"/>
              <a:gd name="connsiteX252" fmla="*/ 3708750 w 4062432"/>
              <a:gd name="connsiteY252" fmla="*/ 530863 h 642188"/>
              <a:gd name="connsiteX253" fmla="*/ 3712162 w 4062432"/>
              <a:gd name="connsiteY253" fmla="*/ 530863 h 642188"/>
              <a:gd name="connsiteX254" fmla="*/ 3729354 w 4062432"/>
              <a:gd name="connsiteY254" fmla="*/ 530863 h 642188"/>
              <a:gd name="connsiteX255" fmla="*/ 3734604 w 4062432"/>
              <a:gd name="connsiteY255" fmla="*/ 530863 h 642188"/>
              <a:gd name="connsiteX256" fmla="*/ 3746546 w 4062432"/>
              <a:gd name="connsiteY256" fmla="*/ 530863 h 642188"/>
              <a:gd name="connsiteX257" fmla="*/ 3748383 w 4062432"/>
              <a:gd name="connsiteY257" fmla="*/ 530863 h 642188"/>
              <a:gd name="connsiteX258" fmla="*/ 3751927 w 4062432"/>
              <a:gd name="connsiteY258" fmla="*/ 530863 h 642188"/>
              <a:gd name="connsiteX259" fmla="*/ 3763869 w 4062432"/>
              <a:gd name="connsiteY259" fmla="*/ 530863 h 642188"/>
              <a:gd name="connsiteX260" fmla="*/ 3767413 w 4062432"/>
              <a:gd name="connsiteY260" fmla="*/ 530863 h 642188"/>
              <a:gd name="connsiteX261" fmla="*/ 3768988 w 4062432"/>
              <a:gd name="connsiteY261" fmla="*/ 530863 h 642188"/>
              <a:gd name="connsiteX262" fmla="*/ 3770825 w 4062432"/>
              <a:gd name="connsiteY262" fmla="*/ 530863 h 642188"/>
              <a:gd name="connsiteX263" fmla="*/ 3774237 w 4062432"/>
              <a:gd name="connsiteY263" fmla="*/ 530863 h 642188"/>
              <a:gd name="connsiteX264" fmla="*/ 3779355 w 4062432"/>
              <a:gd name="connsiteY264" fmla="*/ 530863 h 642188"/>
              <a:gd name="connsiteX265" fmla="*/ 3786311 w 4062432"/>
              <a:gd name="connsiteY265" fmla="*/ 530863 h 642188"/>
              <a:gd name="connsiteX266" fmla="*/ 3789723 w 4062432"/>
              <a:gd name="connsiteY266" fmla="*/ 530863 h 642188"/>
              <a:gd name="connsiteX267" fmla="*/ 3794841 w 4062432"/>
              <a:gd name="connsiteY267" fmla="*/ 530863 h 642188"/>
              <a:gd name="connsiteX268" fmla="*/ 3800091 w 4062432"/>
              <a:gd name="connsiteY268" fmla="*/ 530863 h 642188"/>
              <a:gd name="connsiteX269" fmla="*/ 3807046 w 4062432"/>
              <a:gd name="connsiteY269" fmla="*/ 530863 h 642188"/>
              <a:gd name="connsiteX270" fmla="*/ 3807046 w 4062432"/>
              <a:gd name="connsiteY270" fmla="*/ 642189 h 642188"/>
              <a:gd name="connsiteX271" fmla="*/ 3810458 w 4062432"/>
              <a:gd name="connsiteY271" fmla="*/ 642189 h 642188"/>
              <a:gd name="connsiteX272" fmla="*/ 3824238 w 4062432"/>
              <a:gd name="connsiteY272" fmla="*/ 642189 h 642188"/>
              <a:gd name="connsiteX273" fmla="*/ 3829487 w 4062432"/>
              <a:gd name="connsiteY273" fmla="*/ 642189 h 642188"/>
              <a:gd name="connsiteX274" fmla="*/ 3919254 w 4062432"/>
              <a:gd name="connsiteY274" fmla="*/ 642189 h 642188"/>
              <a:gd name="connsiteX275" fmla="*/ 4038285 w 4062432"/>
              <a:gd name="connsiteY275" fmla="*/ 642189 h 642188"/>
              <a:gd name="connsiteX276" fmla="*/ 4053902 w 4062432"/>
              <a:gd name="connsiteY276" fmla="*/ 642189 h 642188"/>
              <a:gd name="connsiteX277" fmla="*/ 4059021 w 4062432"/>
              <a:gd name="connsiteY277" fmla="*/ 642189 h 642188"/>
              <a:gd name="connsiteX278" fmla="*/ 4062433 w 4062432"/>
              <a:gd name="connsiteY278" fmla="*/ 642189 h 64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4062432" h="642188">
                <a:moveTo>
                  <a:pt x="0" y="0"/>
                </a:moveTo>
                <a:lnTo>
                  <a:pt x="51839" y="0"/>
                </a:lnTo>
                <a:lnTo>
                  <a:pt x="53545" y="0"/>
                </a:lnTo>
                <a:lnTo>
                  <a:pt x="77692" y="0"/>
                </a:lnTo>
                <a:lnTo>
                  <a:pt x="79398" y="0"/>
                </a:lnTo>
                <a:lnTo>
                  <a:pt x="98428" y="0"/>
                </a:lnTo>
                <a:lnTo>
                  <a:pt x="134649" y="0"/>
                </a:lnTo>
                <a:lnTo>
                  <a:pt x="160503" y="0"/>
                </a:lnTo>
                <a:lnTo>
                  <a:pt x="196724" y="0"/>
                </a:lnTo>
                <a:lnTo>
                  <a:pt x="353814" y="0"/>
                </a:lnTo>
                <a:lnTo>
                  <a:pt x="383080" y="0"/>
                </a:lnTo>
                <a:lnTo>
                  <a:pt x="396991" y="0"/>
                </a:lnTo>
                <a:lnTo>
                  <a:pt x="440037" y="0"/>
                </a:lnTo>
                <a:lnTo>
                  <a:pt x="440037" y="7474"/>
                </a:lnTo>
                <a:lnTo>
                  <a:pt x="488332" y="7474"/>
                </a:lnTo>
                <a:lnTo>
                  <a:pt x="488332" y="14948"/>
                </a:lnTo>
                <a:lnTo>
                  <a:pt x="524553" y="14948"/>
                </a:lnTo>
                <a:lnTo>
                  <a:pt x="524553" y="22423"/>
                </a:lnTo>
                <a:lnTo>
                  <a:pt x="533346" y="22423"/>
                </a:lnTo>
                <a:lnTo>
                  <a:pt x="533346" y="30093"/>
                </a:lnTo>
                <a:lnTo>
                  <a:pt x="543714" y="30093"/>
                </a:lnTo>
                <a:lnTo>
                  <a:pt x="543714" y="37568"/>
                </a:lnTo>
                <a:lnTo>
                  <a:pt x="616156" y="37568"/>
                </a:lnTo>
                <a:lnTo>
                  <a:pt x="616156" y="45042"/>
                </a:lnTo>
                <a:lnTo>
                  <a:pt x="617863" y="45042"/>
                </a:lnTo>
                <a:lnTo>
                  <a:pt x="617863" y="52516"/>
                </a:lnTo>
                <a:lnTo>
                  <a:pt x="642010" y="52516"/>
                </a:lnTo>
                <a:lnTo>
                  <a:pt x="642010" y="59990"/>
                </a:lnTo>
                <a:lnTo>
                  <a:pt x="643716" y="59990"/>
                </a:lnTo>
                <a:lnTo>
                  <a:pt x="645553" y="59990"/>
                </a:lnTo>
                <a:lnTo>
                  <a:pt x="647128" y="59990"/>
                </a:lnTo>
                <a:lnTo>
                  <a:pt x="650672" y="59990"/>
                </a:lnTo>
                <a:lnTo>
                  <a:pt x="657496" y="59990"/>
                </a:lnTo>
                <a:lnTo>
                  <a:pt x="657496" y="67661"/>
                </a:lnTo>
                <a:lnTo>
                  <a:pt x="697261" y="67661"/>
                </a:lnTo>
                <a:lnTo>
                  <a:pt x="704216" y="67661"/>
                </a:lnTo>
                <a:lnTo>
                  <a:pt x="709334" y="67661"/>
                </a:lnTo>
                <a:lnTo>
                  <a:pt x="709334" y="75332"/>
                </a:lnTo>
                <a:lnTo>
                  <a:pt x="730070" y="75332"/>
                </a:lnTo>
                <a:lnTo>
                  <a:pt x="743850" y="75332"/>
                </a:lnTo>
                <a:lnTo>
                  <a:pt x="767997" y="75332"/>
                </a:lnTo>
                <a:lnTo>
                  <a:pt x="787027" y="75332"/>
                </a:lnTo>
                <a:lnTo>
                  <a:pt x="788733" y="75332"/>
                </a:lnTo>
                <a:lnTo>
                  <a:pt x="793851" y="75332"/>
                </a:lnTo>
                <a:lnTo>
                  <a:pt x="793851" y="83199"/>
                </a:lnTo>
                <a:lnTo>
                  <a:pt x="806056" y="83199"/>
                </a:lnTo>
                <a:lnTo>
                  <a:pt x="806056" y="91264"/>
                </a:lnTo>
                <a:lnTo>
                  <a:pt x="807631" y="91264"/>
                </a:lnTo>
                <a:lnTo>
                  <a:pt x="830072" y="91264"/>
                </a:lnTo>
                <a:lnTo>
                  <a:pt x="830072" y="99131"/>
                </a:lnTo>
                <a:lnTo>
                  <a:pt x="833484" y="99131"/>
                </a:lnTo>
                <a:lnTo>
                  <a:pt x="833484" y="106999"/>
                </a:lnTo>
                <a:lnTo>
                  <a:pt x="857763" y="106999"/>
                </a:lnTo>
                <a:lnTo>
                  <a:pt x="857763" y="115063"/>
                </a:lnTo>
                <a:lnTo>
                  <a:pt x="904352" y="115063"/>
                </a:lnTo>
                <a:lnTo>
                  <a:pt x="909471" y="115063"/>
                </a:lnTo>
                <a:lnTo>
                  <a:pt x="909471" y="123127"/>
                </a:lnTo>
                <a:lnTo>
                  <a:pt x="942280" y="123127"/>
                </a:lnTo>
                <a:lnTo>
                  <a:pt x="942280" y="130995"/>
                </a:lnTo>
                <a:lnTo>
                  <a:pt x="950941" y="130995"/>
                </a:lnTo>
                <a:lnTo>
                  <a:pt x="954485" y="130995"/>
                </a:lnTo>
                <a:lnTo>
                  <a:pt x="954485" y="139059"/>
                </a:lnTo>
                <a:lnTo>
                  <a:pt x="978501" y="139059"/>
                </a:lnTo>
                <a:lnTo>
                  <a:pt x="978501" y="147123"/>
                </a:lnTo>
                <a:lnTo>
                  <a:pt x="987163" y="147123"/>
                </a:lnTo>
                <a:lnTo>
                  <a:pt x="987163" y="155187"/>
                </a:lnTo>
                <a:lnTo>
                  <a:pt x="1045825" y="155187"/>
                </a:lnTo>
                <a:lnTo>
                  <a:pt x="1045825" y="163252"/>
                </a:lnTo>
                <a:lnTo>
                  <a:pt x="1050944" y="163252"/>
                </a:lnTo>
                <a:lnTo>
                  <a:pt x="1057899" y="163252"/>
                </a:lnTo>
                <a:lnTo>
                  <a:pt x="1057899" y="171316"/>
                </a:lnTo>
                <a:lnTo>
                  <a:pt x="1083753" y="171316"/>
                </a:lnTo>
                <a:lnTo>
                  <a:pt x="1083753" y="179380"/>
                </a:lnTo>
                <a:lnTo>
                  <a:pt x="1130342" y="179380"/>
                </a:lnTo>
                <a:lnTo>
                  <a:pt x="1130342" y="187444"/>
                </a:lnTo>
                <a:lnTo>
                  <a:pt x="1168401" y="187444"/>
                </a:lnTo>
                <a:lnTo>
                  <a:pt x="1168401" y="195509"/>
                </a:lnTo>
                <a:lnTo>
                  <a:pt x="1173519" y="195509"/>
                </a:lnTo>
                <a:lnTo>
                  <a:pt x="1173519" y="203573"/>
                </a:lnTo>
                <a:lnTo>
                  <a:pt x="1177062" y="203573"/>
                </a:lnTo>
                <a:lnTo>
                  <a:pt x="1177062" y="219701"/>
                </a:lnTo>
                <a:lnTo>
                  <a:pt x="1195960" y="219701"/>
                </a:lnTo>
                <a:lnTo>
                  <a:pt x="1195960" y="227765"/>
                </a:lnTo>
                <a:lnTo>
                  <a:pt x="1199372" y="227765"/>
                </a:lnTo>
                <a:lnTo>
                  <a:pt x="1199372" y="236026"/>
                </a:lnTo>
                <a:lnTo>
                  <a:pt x="1201078" y="236026"/>
                </a:lnTo>
                <a:lnTo>
                  <a:pt x="1201078" y="244091"/>
                </a:lnTo>
                <a:lnTo>
                  <a:pt x="1209740" y="244091"/>
                </a:lnTo>
                <a:lnTo>
                  <a:pt x="1220108" y="244091"/>
                </a:lnTo>
                <a:lnTo>
                  <a:pt x="1220108" y="252155"/>
                </a:lnTo>
                <a:lnTo>
                  <a:pt x="1347801" y="252155"/>
                </a:lnTo>
                <a:lnTo>
                  <a:pt x="1365124" y="252155"/>
                </a:lnTo>
                <a:lnTo>
                  <a:pt x="1365124" y="260416"/>
                </a:lnTo>
                <a:lnTo>
                  <a:pt x="1396096" y="260416"/>
                </a:lnTo>
                <a:lnTo>
                  <a:pt x="1396096" y="268480"/>
                </a:lnTo>
                <a:lnTo>
                  <a:pt x="1413419" y="268480"/>
                </a:lnTo>
                <a:lnTo>
                  <a:pt x="1413419" y="276741"/>
                </a:lnTo>
                <a:lnTo>
                  <a:pt x="1421950" y="276741"/>
                </a:lnTo>
                <a:lnTo>
                  <a:pt x="1421950" y="285002"/>
                </a:lnTo>
                <a:lnTo>
                  <a:pt x="1447935" y="285002"/>
                </a:lnTo>
                <a:lnTo>
                  <a:pt x="1447935" y="293263"/>
                </a:lnTo>
                <a:lnTo>
                  <a:pt x="1492818" y="293263"/>
                </a:lnTo>
                <a:lnTo>
                  <a:pt x="1492818" y="301327"/>
                </a:lnTo>
                <a:lnTo>
                  <a:pt x="1575628" y="301327"/>
                </a:lnTo>
                <a:lnTo>
                  <a:pt x="1575628" y="309588"/>
                </a:lnTo>
                <a:lnTo>
                  <a:pt x="1653320" y="309588"/>
                </a:lnTo>
                <a:lnTo>
                  <a:pt x="1653320" y="317849"/>
                </a:lnTo>
                <a:lnTo>
                  <a:pt x="1694660" y="317849"/>
                </a:lnTo>
                <a:lnTo>
                  <a:pt x="1694660" y="326110"/>
                </a:lnTo>
                <a:lnTo>
                  <a:pt x="1753323" y="326110"/>
                </a:lnTo>
                <a:lnTo>
                  <a:pt x="1803455" y="326110"/>
                </a:lnTo>
                <a:lnTo>
                  <a:pt x="1803455" y="334371"/>
                </a:lnTo>
                <a:lnTo>
                  <a:pt x="1829309" y="334371"/>
                </a:lnTo>
                <a:lnTo>
                  <a:pt x="1836133" y="334371"/>
                </a:lnTo>
                <a:lnTo>
                  <a:pt x="1848338" y="334371"/>
                </a:lnTo>
                <a:lnTo>
                  <a:pt x="1874192" y="334371"/>
                </a:lnTo>
                <a:lnTo>
                  <a:pt x="1874192" y="342828"/>
                </a:lnTo>
                <a:lnTo>
                  <a:pt x="1939810" y="342828"/>
                </a:lnTo>
                <a:lnTo>
                  <a:pt x="1939810" y="351089"/>
                </a:lnTo>
                <a:lnTo>
                  <a:pt x="1970782" y="351089"/>
                </a:lnTo>
                <a:lnTo>
                  <a:pt x="1970782" y="359547"/>
                </a:lnTo>
                <a:lnTo>
                  <a:pt x="2031282" y="359547"/>
                </a:lnTo>
                <a:lnTo>
                  <a:pt x="2031282" y="368005"/>
                </a:lnTo>
                <a:lnTo>
                  <a:pt x="2043225" y="368005"/>
                </a:lnTo>
                <a:lnTo>
                  <a:pt x="2162388" y="368005"/>
                </a:lnTo>
                <a:lnTo>
                  <a:pt x="2264227" y="368005"/>
                </a:lnTo>
                <a:lnTo>
                  <a:pt x="2264227" y="376462"/>
                </a:lnTo>
                <a:lnTo>
                  <a:pt x="2331552" y="376462"/>
                </a:lnTo>
                <a:lnTo>
                  <a:pt x="2379847" y="376462"/>
                </a:lnTo>
                <a:lnTo>
                  <a:pt x="2393627" y="376462"/>
                </a:lnTo>
                <a:lnTo>
                  <a:pt x="2398745" y="376462"/>
                </a:lnTo>
                <a:lnTo>
                  <a:pt x="2398745" y="385116"/>
                </a:lnTo>
                <a:lnTo>
                  <a:pt x="2405700" y="385116"/>
                </a:lnTo>
                <a:lnTo>
                  <a:pt x="2492054" y="385116"/>
                </a:lnTo>
                <a:lnTo>
                  <a:pt x="2492054" y="393771"/>
                </a:lnTo>
                <a:lnTo>
                  <a:pt x="2549011" y="393771"/>
                </a:lnTo>
                <a:lnTo>
                  <a:pt x="2549011" y="402622"/>
                </a:lnTo>
                <a:lnTo>
                  <a:pt x="2554129" y="402622"/>
                </a:lnTo>
                <a:lnTo>
                  <a:pt x="2554129" y="411276"/>
                </a:lnTo>
                <a:lnTo>
                  <a:pt x="2619747" y="411276"/>
                </a:lnTo>
                <a:lnTo>
                  <a:pt x="2619747" y="419930"/>
                </a:lnTo>
                <a:lnTo>
                  <a:pt x="2628278" y="419930"/>
                </a:lnTo>
                <a:lnTo>
                  <a:pt x="2666337" y="419930"/>
                </a:lnTo>
                <a:lnTo>
                  <a:pt x="2666337" y="428781"/>
                </a:lnTo>
                <a:lnTo>
                  <a:pt x="2723293" y="428781"/>
                </a:lnTo>
                <a:lnTo>
                  <a:pt x="2723293" y="437632"/>
                </a:lnTo>
                <a:lnTo>
                  <a:pt x="2799148" y="437632"/>
                </a:lnTo>
                <a:lnTo>
                  <a:pt x="2799148" y="446287"/>
                </a:lnTo>
                <a:lnTo>
                  <a:pt x="2804398" y="446287"/>
                </a:lnTo>
                <a:lnTo>
                  <a:pt x="2804398" y="455138"/>
                </a:lnTo>
                <a:lnTo>
                  <a:pt x="2811353" y="455138"/>
                </a:lnTo>
                <a:lnTo>
                  <a:pt x="2811353" y="463989"/>
                </a:lnTo>
                <a:lnTo>
                  <a:pt x="2837207" y="463989"/>
                </a:lnTo>
                <a:lnTo>
                  <a:pt x="2854530" y="463989"/>
                </a:lnTo>
                <a:lnTo>
                  <a:pt x="2887208" y="463989"/>
                </a:lnTo>
                <a:lnTo>
                  <a:pt x="2890620" y="463989"/>
                </a:lnTo>
                <a:lnTo>
                  <a:pt x="2892326" y="463989"/>
                </a:lnTo>
                <a:lnTo>
                  <a:pt x="2900988" y="463989"/>
                </a:lnTo>
                <a:lnTo>
                  <a:pt x="2913193" y="463989"/>
                </a:lnTo>
                <a:lnTo>
                  <a:pt x="2916605" y="463989"/>
                </a:lnTo>
                <a:lnTo>
                  <a:pt x="2920017" y="463989"/>
                </a:lnTo>
                <a:lnTo>
                  <a:pt x="2925135" y="463989"/>
                </a:lnTo>
                <a:lnTo>
                  <a:pt x="2928679" y="463989"/>
                </a:lnTo>
                <a:lnTo>
                  <a:pt x="2932091" y="463989"/>
                </a:lnTo>
                <a:lnTo>
                  <a:pt x="2939046" y="463989"/>
                </a:lnTo>
                <a:lnTo>
                  <a:pt x="2940621" y="463989"/>
                </a:lnTo>
                <a:lnTo>
                  <a:pt x="2942459" y="463989"/>
                </a:lnTo>
                <a:lnTo>
                  <a:pt x="2944165" y="463989"/>
                </a:lnTo>
                <a:lnTo>
                  <a:pt x="2945871" y="463989"/>
                </a:lnTo>
                <a:lnTo>
                  <a:pt x="2956238" y="463989"/>
                </a:lnTo>
                <a:lnTo>
                  <a:pt x="2990754" y="463989"/>
                </a:lnTo>
                <a:lnTo>
                  <a:pt x="3033931" y="463989"/>
                </a:lnTo>
                <a:lnTo>
                  <a:pt x="3033931" y="474216"/>
                </a:lnTo>
                <a:lnTo>
                  <a:pt x="3049417" y="474216"/>
                </a:lnTo>
                <a:lnTo>
                  <a:pt x="3054666" y="474216"/>
                </a:lnTo>
                <a:lnTo>
                  <a:pt x="3059784" y="474216"/>
                </a:lnTo>
                <a:lnTo>
                  <a:pt x="3075270" y="474216"/>
                </a:lnTo>
                <a:lnTo>
                  <a:pt x="3082226" y="474216"/>
                </a:lnTo>
                <a:lnTo>
                  <a:pt x="3083932" y="474216"/>
                </a:lnTo>
                <a:lnTo>
                  <a:pt x="3090887" y="474216"/>
                </a:lnTo>
                <a:lnTo>
                  <a:pt x="3106373" y="474216"/>
                </a:lnTo>
                <a:lnTo>
                  <a:pt x="3111491" y="474216"/>
                </a:lnTo>
                <a:lnTo>
                  <a:pt x="3118447" y="474216"/>
                </a:lnTo>
                <a:lnTo>
                  <a:pt x="3125403" y="474216"/>
                </a:lnTo>
                <a:lnTo>
                  <a:pt x="3128815" y="474216"/>
                </a:lnTo>
                <a:lnTo>
                  <a:pt x="3135770" y="474216"/>
                </a:lnTo>
                <a:lnTo>
                  <a:pt x="3140889" y="474216"/>
                </a:lnTo>
                <a:lnTo>
                  <a:pt x="3144301" y="474216"/>
                </a:lnTo>
                <a:lnTo>
                  <a:pt x="3156506" y="474216"/>
                </a:lnTo>
                <a:lnTo>
                  <a:pt x="3177110" y="474216"/>
                </a:lnTo>
                <a:lnTo>
                  <a:pt x="3178816" y="474216"/>
                </a:lnTo>
                <a:lnTo>
                  <a:pt x="3180522" y="474216"/>
                </a:lnTo>
                <a:lnTo>
                  <a:pt x="3183934" y="474216"/>
                </a:lnTo>
                <a:lnTo>
                  <a:pt x="3185772" y="474216"/>
                </a:lnTo>
                <a:lnTo>
                  <a:pt x="3190890" y="474216"/>
                </a:lnTo>
                <a:lnTo>
                  <a:pt x="3192727" y="474216"/>
                </a:lnTo>
                <a:lnTo>
                  <a:pt x="3196139" y="474216"/>
                </a:lnTo>
                <a:lnTo>
                  <a:pt x="3203095" y="474216"/>
                </a:lnTo>
                <a:lnTo>
                  <a:pt x="3208213" y="474216"/>
                </a:lnTo>
                <a:lnTo>
                  <a:pt x="3209919" y="474216"/>
                </a:lnTo>
                <a:lnTo>
                  <a:pt x="3221993" y="474216"/>
                </a:lnTo>
                <a:lnTo>
                  <a:pt x="3225536" y="474216"/>
                </a:lnTo>
                <a:lnTo>
                  <a:pt x="3235904" y="474216"/>
                </a:lnTo>
                <a:lnTo>
                  <a:pt x="3235904" y="489165"/>
                </a:lnTo>
                <a:lnTo>
                  <a:pt x="3239185" y="489165"/>
                </a:lnTo>
                <a:lnTo>
                  <a:pt x="3239185" y="504310"/>
                </a:lnTo>
                <a:lnTo>
                  <a:pt x="3247846" y="504310"/>
                </a:lnTo>
                <a:lnTo>
                  <a:pt x="3289317" y="504310"/>
                </a:lnTo>
                <a:lnTo>
                  <a:pt x="3311759" y="504310"/>
                </a:lnTo>
                <a:lnTo>
                  <a:pt x="3313465" y="504310"/>
                </a:lnTo>
                <a:lnTo>
                  <a:pt x="3318583" y="504310"/>
                </a:lnTo>
                <a:lnTo>
                  <a:pt x="3321995" y="504310"/>
                </a:lnTo>
                <a:lnTo>
                  <a:pt x="3335906" y="504310"/>
                </a:lnTo>
                <a:lnTo>
                  <a:pt x="3356642" y="504310"/>
                </a:lnTo>
                <a:lnTo>
                  <a:pt x="3377377" y="504310"/>
                </a:lnTo>
                <a:lnTo>
                  <a:pt x="3382495" y="504310"/>
                </a:lnTo>
                <a:lnTo>
                  <a:pt x="3384201" y="504310"/>
                </a:lnTo>
                <a:lnTo>
                  <a:pt x="3385908" y="504310"/>
                </a:lnTo>
                <a:lnTo>
                  <a:pt x="3406643" y="504310"/>
                </a:lnTo>
                <a:lnTo>
                  <a:pt x="3420423" y="504310"/>
                </a:lnTo>
                <a:lnTo>
                  <a:pt x="3422260" y="504310"/>
                </a:lnTo>
                <a:lnTo>
                  <a:pt x="3423835" y="504310"/>
                </a:lnTo>
                <a:lnTo>
                  <a:pt x="3432628" y="504310"/>
                </a:lnTo>
                <a:lnTo>
                  <a:pt x="3439452" y="504310"/>
                </a:lnTo>
                <a:lnTo>
                  <a:pt x="3456644" y="504310"/>
                </a:lnTo>
                <a:lnTo>
                  <a:pt x="3460056" y="504310"/>
                </a:lnTo>
                <a:lnTo>
                  <a:pt x="3461894" y="504310"/>
                </a:lnTo>
                <a:lnTo>
                  <a:pt x="3477380" y="504310"/>
                </a:lnTo>
                <a:lnTo>
                  <a:pt x="3480923" y="504310"/>
                </a:lnTo>
                <a:lnTo>
                  <a:pt x="3491291" y="504310"/>
                </a:lnTo>
                <a:lnTo>
                  <a:pt x="3496409" y="504310"/>
                </a:lnTo>
                <a:lnTo>
                  <a:pt x="3501658" y="504310"/>
                </a:lnTo>
                <a:lnTo>
                  <a:pt x="3505070" y="504310"/>
                </a:lnTo>
                <a:lnTo>
                  <a:pt x="3525675" y="504310"/>
                </a:lnTo>
                <a:lnTo>
                  <a:pt x="3532630" y="504310"/>
                </a:lnTo>
                <a:lnTo>
                  <a:pt x="3551528" y="504310"/>
                </a:lnTo>
                <a:lnTo>
                  <a:pt x="3555072" y="504310"/>
                </a:lnTo>
                <a:lnTo>
                  <a:pt x="3555072" y="530863"/>
                </a:lnTo>
                <a:lnTo>
                  <a:pt x="3556778" y="530863"/>
                </a:lnTo>
                <a:lnTo>
                  <a:pt x="3565439" y="530863"/>
                </a:lnTo>
                <a:lnTo>
                  <a:pt x="3577513" y="530863"/>
                </a:lnTo>
                <a:lnTo>
                  <a:pt x="3591293" y="530863"/>
                </a:lnTo>
                <a:lnTo>
                  <a:pt x="3594705" y="530863"/>
                </a:lnTo>
                <a:lnTo>
                  <a:pt x="3598117" y="530863"/>
                </a:lnTo>
                <a:lnTo>
                  <a:pt x="3612029" y="530863"/>
                </a:lnTo>
                <a:lnTo>
                  <a:pt x="3622396" y="530863"/>
                </a:lnTo>
                <a:lnTo>
                  <a:pt x="3637882" y="530863"/>
                </a:lnTo>
                <a:lnTo>
                  <a:pt x="3643132" y="530863"/>
                </a:lnTo>
                <a:lnTo>
                  <a:pt x="3662030" y="530863"/>
                </a:lnTo>
                <a:lnTo>
                  <a:pt x="3681059" y="530863"/>
                </a:lnTo>
                <a:lnTo>
                  <a:pt x="3699957" y="530863"/>
                </a:lnTo>
                <a:lnTo>
                  <a:pt x="3703501" y="530863"/>
                </a:lnTo>
                <a:lnTo>
                  <a:pt x="3708750" y="530863"/>
                </a:lnTo>
                <a:lnTo>
                  <a:pt x="3712162" y="530863"/>
                </a:lnTo>
                <a:lnTo>
                  <a:pt x="3729354" y="530863"/>
                </a:lnTo>
                <a:lnTo>
                  <a:pt x="3734604" y="530863"/>
                </a:lnTo>
                <a:lnTo>
                  <a:pt x="3746546" y="530863"/>
                </a:lnTo>
                <a:lnTo>
                  <a:pt x="3748383" y="530863"/>
                </a:lnTo>
                <a:lnTo>
                  <a:pt x="3751927" y="530863"/>
                </a:lnTo>
                <a:lnTo>
                  <a:pt x="3763869" y="530863"/>
                </a:lnTo>
                <a:lnTo>
                  <a:pt x="3767413" y="530863"/>
                </a:lnTo>
                <a:lnTo>
                  <a:pt x="3768988" y="530863"/>
                </a:lnTo>
                <a:lnTo>
                  <a:pt x="3770825" y="530863"/>
                </a:lnTo>
                <a:lnTo>
                  <a:pt x="3774237" y="530863"/>
                </a:lnTo>
                <a:lnTo>
                  <a:pt x="3779355" y="530863"/>
                </a:lnTo>
                <a:lnTo>
                  <a:pt x="3786311" y="530863"/>
                </a:lnTo>
                <a:lnTo>
                  <a:pt x="3789723" y="530863"/>
                </a:lnTo>
                <a:lnTo>
                  <a:pt x="3794841" y="530863"/>
                </a:lnTo>
                <a:lnTo>
                  <a:pt x="3800091" y="530863"/>
                </a:lnTo>
                <a:lnTo>
                  <a:pt x="3807046" y="530863"/>
                </a:lnTo>
                <a:lnTo>
                  <a:pt x="3807046" y="642189"/>
                </a:lnTo>
                <a:lnTo>
                  <a:pt x="3810458" y="642189"/>
                </a:lnTo>
                <a:lnTo>
                  <a:pt x="3824238" y="642189"/>
                </a:lnTo>
                <a:lnTo>
                  <a:pt x="3829487" y="642189"/>
                </a:lnTo>
                <a:lnTo>
                  <a:pt x="3919254" y="642189"/>
                </a:lnTo>
                <a:lnTo>
                  <a:pt x="4038285" y="642189"/>
                </a:lnTo>
                <a:lnTo>
                  <a:pt x="4053902" y="642189"/>
                </a:lnTo>
                <a:lnTo>
                  <a:pt x="4059021" y="642189"/>
                </a:lnTo>
                <a:lnTo>
                  <a:pt x="4062433" y="642189"/>
                </a:lnTo>
              </a:path>
            </a:pathLst>
          </a:custGeom>
          <a:noFill/>
          <a:ln w="12700" cap="flat">
            <a:solidFill>
              <a:schemeClr val="accent6">
                <a:lumMod val="40000"/>
                <a:lumOff val="6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00A915B0-BA72-F162-9DB4-CCB983DF3DC7}"/>
              </a:ext>
            </a:extLst>
          </p:cNvPr>
          <p:cNvSpPr/>
          <p:nvPr/>
        </p:nvSpPr>
        <p:spPr>
          <a:xfrm>
            <a:off x="1843088" y="1862831"/>
            <a:ext cx="3822531" cy="980886"/>
          </a:xfrm>
          <a:custGeom>
            <a:avLst/>
            <a:gdLst>
              <a:gd name="connsiteX0" fmla="*/ 0 w 3822531"/>
              <a:gd name="connsiteY0" fmla="*/ 0 h 980886"/>
              <a:gd name="connsiteX1" fmla="*/ 79398 w 3822531"/>
              <a:gd name="connsiteY1" fmla="*/ 0 h 980886"/>
              <a:gd name="connsiteX2" fmla="*/ 94884 w 3822531"/>
              <a:gd name="connsiteY2" fmla="*/ 0 h 980886"/>
              <a:gd name="connsiteX3" fmla="*/ 94884 w 3822531"/>
              <a:gd name="connsiteY3" fmla="*/ 43862 h 980886"/>
              <a:gd name="connsiteX4" fmla="*/ 127693 w 3822531"/>
              <a:gd name="connsiteY4" fmla="*/ 43862 h 980886"/>
              <a:gd name="connsiteX5" fmla="*/ 127693 w 3822531"/>
              <a:gd name="connsiteY5" fmla="*/ 87723 h 980886"/>
              <a:gd name="connsiteX6" fmla="*/ 150135 w 3822531"/>
              <a:gd name="connsiteY6" fmla="*/ 87723 h 980886"/>
              <a:gd name="connsiteX7" fmla="*/ 153547 w 3822531"/>
              <a:gd name="connsiteY7" fmla="*/ 87723 h 980886"/>
              <a:gd name="connsiteX8" fmla="*/ 153547 w 3822531"/>
              <a:gd name="connsiteY8" fmla="*/ 132765 h 980886"/>
              <a:gd name="connsiteX9" fmla="*/ 231370 w 3822531"/>
              <a:gd name="connsiteY9" fmla="*/ 132765 h 980886"/>
              <a:gd name="connsiteX10" fmla="*/ 246856 w 3822531"/>
              <a:gd name="connsiteY10" fmla="*/ 132765 h 980886"/>
              <a:gd name="connsiteX11" fmla="*/ 246856 w 3822531"/>
              <a:gd name="connsiteY11" fmla="*/ 179183 h 980886"/>
              <a:gd name="connsiteX12" fmla="*/ 276122 w 3822531"/>
              <a:gd name="connsiteY12" fmla="*/ 179183 h 980886"/>
              <a:gd name="connsiteX13" fmla="*/ 276122 w 3822531"/>
              <a:gd name="connsiteY13" fmla="*/ 225602 h 980886"/>
              <a:gd name="connsiteX14" fmla="*/ 314049 w 3822531"/>
              <a:gd name="connsiteY14" fmla="*/ 225602 h 980886"/>
              <a:gd name="connsiteX15" fmla="*/ 314049 w 3822531"/>
              <a:gd name="connsiteY15" fmla="*/ 271824 h 980886"/>
              <a:gd name="connsiteX16" fmla="*/ 339903 w 3822531"/>
              <a:gd name="connsiteY16" fmla="*/ 271824 h 980886"/>
              <a:gd name="connsiteX17" fmla="*/ 339903 w 3822531"/>
              <a:gd name="connsiteY17" fmla="*/ 318242 h 980886"/>
              <a:gd name="connsiteX18" fmla="*/ 359064 w 3822531"/>
              <a:gd name="connsiteY18" fmla="*/ 318242 h 980886"/>
              <a:gd name="connsiteX19" fmla="*/ 359064 w 3822531"/>
              <a:gd name="connsiteY19" fmla="*/ 364661 h 980886"/>
              <a:gd name="connsiteX20" fmla="*/ 424551 w 3822531"/>
              <a:gd name="connsiteY20" fmla="*/ 364661 h 980886"/>
              <a:gd name="connsiteX21" fmla="*/ 424551 w 3822531"/>
              <a:gd name="connsiteY21" fmla="*/ 410883 h 980886"/>
              <a:gd name="connsiteX22" fmla="*/ 450404 w 3822531"/>
              <a:gd name="connsiteY22" fmla="*/ 410883 h 980886"/>
              <a:gd name="connsiteX23" fmla="*/ 491875 w 3822531"/>
              <a:gd name="connsiteY23" fmla="*/ 410883 h 980886"/>
              <a:gd name="connsiteX24" fmla="*/ 493581 w 3822531"/>
              <a:gd name="connsiteY24" fmla="*/ 410883 h 980886"/>
              <a:gd name="connsiteX25" fmla="*/ 493581 w 3822531"/>
              <a:gd name="connsiteY25" fmla="*/ 460645 h 980886"/>
              <a:gd name="connsiteX26" fmla="*/ 517729 w 3822531"/>
              <a:gd name="connsiteY26" fmla="*/ 460645 h 980886"/>
              <a:gd name="connsiteX27" fmla="*/ 517729 w 3822531"/>
              <a:gd name="connsiteY27" fmla="*/ 510407 h 980886"/>
              <a:gd name="connsiteX28" fmla="*/ 633348 w 3822531"/>
              <a:gd name="connsiteY28" fmla="*/ 510407 h 980886"/>
              <a:gd name="connsiteX29" fmla="*/ 633348 w 3822531"/>
              <a:gd name="connsiteY29" fmla="*/ 560169 h 980886"/>
              <a:gd name="connsiteX30" fmla="*/ 654084 w 3822531"/>
              <a:gd name="connsiteY30" fmla="*/ 560169 h 980886"/>
              <a:gd name="connsiteX31" fmla="*/ 654084 w 3822531"/>
              <a:gd name="connsiteY31" fmla="*/ 609932 h 980886"/>
              <a:gd name="connsiteX32" fmla="*/ 733482 w 3822531"/>
              <a:gd name="connsiteY32" fmla="*/ 609932 h 980886"/>
              <a:gd name="connsiteX33" fmla="*/ 733482 w 3822531"/>
              <a:gd name="connsiteY33" fmla="*/ 659891 h 980886"/>
              <a:gd name="connsiteX34" fmla="*/ 762879 w 3822531"/>
              <a:gd name="connsiteY34" fmla="*/ 659891 h 980886"/>
              <a:gd name="connsiteX35" fmla="*/ 762879 w 3822531"/>
              <a:gd name="connsiteY35" fmla="*/ 709653 h 980886"/>
              <a:gd name="connsiteX36" fmla="*/ 795557 w 3822531"/>
              <a:gd name="connsiteY36" fmla="*/ 709653 h 980886"/>
              <a:gd name="connsiteX37" fmla="*/ 795557 w 3822531"/>
              <a:gd name="connsiteY37" fmla="*/ 759415 h 980886"/>
              <a:gd name="connsiteX38" fmla="*/ 837028 w 3822531"/>
              <a:gd name="connsiteY38" fmla="*/ 759415 h 980886"/>
              <a:gd name="connsiteX39" fmla="*/ 837028 w 3822531"/>
              <a:gd name="connsiteY39" fmla="*/ 809177 h 980886"/>
              <a:gd name="connsiteX40" fmla="*/ 928369 w 3822531"/>
              <a:gd name="connsiteY40" fmla="*/ 809177 h 980886"/>
              <a:gd name="connsiteX41" fmla="*/ 980338 w 3822531"/>
              <a:gd name="connsiteY41" fmla="*/ 809177 h 980886"/>
              <a:gd name="connsiteX42" fmla="*/ 980338 w 3822531"/>
              <a:gd name="connsiteY42" fmla="*/ 861693 h 980886"/>
              <a:gd name="connsiteX43" fmla="*/ 990575 w 3822531"/>
              <a:gd name="connsiteY43" fmla="*/ 861693 h 980886"/>
              <a:gd name="connsiteX44" fmla="*/ 1258035 w 3822531"/>
              <a:gd name="connsiteY44" fmla="*/ 861693 h 980886"/>
              <a:gd name="connsiteX45" fmla="*/ 1781014 w 3822531"/>
              <a:gd name="connsiteY45" fmla="*/ 861693 h 980886"/>
              <a:gd name="connsiteX46" fmla="*/ 1781014 w 3822531"/>
              <a:gd name="connsiteY46" fmla="*/ 921290 h 980886"/>
              <a:gd name="connsiteX47" fmla="*/ 2020914 w 3822531"/>
              <a:gd name="connsiteY47" fmla="*/ 921290 h 980886"/>
              <a:gd name="connsiteX48" fmla="*/ 2020914 w 3822531"/>
              <a:gd name="connsiteY48" fmla="*/ 980886 h 980886"/>
              <a:gd name="connsiteX49" fmla="*/ 3106373 w 3822531"/>
              <a:gd name="connsiteY49" fmla="*/ 980886 h 980886"/>
              <a:gd name="connsiteX50" fmla="*/ 3142595 w 3822531"/>
              <a:gd name="connsiteY50" fmla="*/ 980886 h 980886"/>
              <a:gd name="connsiteX51" fmla="*/ 3168448 w 3822531"/>
              <a:gd name="connsiteY51" fmla="*/ 980886 h 980886"/>
              <a:gd name="connsiteX52" fmla="*/ 3203095 w 3822531"/>
              <a:gd name="connsiteY52" fmla="*/ 980886 h 980886"/>
              <a:gd name="connsiteX53" fmla="*/ 3228948 w 3822531"/>
              <a:gd name="connsiteY53" fmla="*/ 980886 h 980886"/>
              <a:gd name="connsiteX54" fmla="*/ 3246140 w 3822531"/>
              <a:gd name="connsiteY54" fmla="*/ 980886 h 980886"/>
              <a:gd name="connsiteX55" fmla="*/ 3249553 w 3822531"/>
              <a:gd name="connsiteY55" fmla="*/ 980886 h 980886"/>
              <a:gd name="connsiteX56" fmla="*/ 3344568 w 3822531"/>
              <a:gd name="connsiteY56" fmla="*/ 980886 h 980886"/>
              <a:gd name="connsiteX57" fmla="*/ 3415304 w 3822531"/>
              <a:gd name="connsiteY57" fmla="*/ 980886 h 980886"/>
              <a:gd name="connsiteX58" fmla="*/ 3517144 w 3822531"/>
              <a:gd name="connsiteY58" fmla="*/ 980886 h 980886"/>
              <a:gd name="connsiteX59" fmla="*/ 3770825 w 3822531"/>
              <a:gd name="connsiteY59" fmla="*/ 980886 h 980886"/>
              <a:gd name="connsiteX60" fmla="*/ 3788017 w 3822531"/>
              <a:gd name="connsiteY60" fmla="*/ 980886 h 980886"/>
              <a:gd name="connsiteX61" fmla="*/ 3822532 w 3822531"/>
              <a:gd name="connsiteY61" fmla="*/ 980886 h 980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22531" h="980886">
                <a:moveTo>
                  <a:pt x="0" y="0"/>
                </a:moveTo>
                <a:lnTo>
                  <a:pt x="79398" y="0"/>
                </a:lnTo>
                <a:lnTo>
                  <a:pt x="94884" y="0"/>
                </a:lnTo>
                <a:lnTo>
                  <a:pt x="94884" y="43862"/>
                </a:lnTo>
                <a:lnTo>
                  <a:pt x="127693" y="43862"/>
                </a:lnTo>
                <a:lnTo>
                  <a:pt x="127693" y="87723"/>
                </a:lnTo>
                <a:lnTo>
                  <a:pt x="150135" y="87723"/>
                </a:lnTo>
                <a:lnTo>
                  <a:pt x="153547" y="87723"/>
                </a:lnTo>
                <a:lnTo>
                  <a:pt x="153547" y="132765"/>
                </a:lnTo>
                <a:lnTo>
                  <a:pt x="231370" y="132765"/>
                </a:lnTo>
                <a:lnTo>
                  <a:pt x="246856" y="132765"/>
                </a:lnTo>
                <a:lnTo>
                  <a:pt x="246856" y="179183"/>
                </a:lnTo>
                <a:lnTo>
                  <a:pt x="276122" y="179183"/>
                </a:lnTo>
                <a:lnTo>
                  <a:pt x="276122" y="225602"/>
                </a:lnTo>
                <a:lnTo>
                  <a:pt x="314049" y="225602"/>
                </a:lnTo>
                <a:lnTo>
                  <a:pt x="314049" y="271824"/>
                </a:lnTo>
                <a:lnTo>
                  <a:pt x="339903" y="271824"/>
                </a:lnTo>
                <a:lnTo>
                  <a:pt x="339903" y="318242"/>
                </a:lnTo>
                <a:lnTo>
                  <a:pt x="359064" y="318242"/>
                </a:lnTo>
                <a:lnTo>
                  <a:pt x="359064" y="364661"/>
                </a:lnTo>
                <a:lnTo>
                  <a:pt x="424551" y="364661"/>
                </a:lnTo>
                <a:lnTo>
                  <a:pt x="424551" y="410883"/>
                </a:lnTo>
                <a:lnTo>
                  <a:pt x="450404" y="410883"/>
                </a:lnTo>
                <a:lnTo>
                  <a:pt x="491875" y="410883"/>
                </a:lnTo>
                <a:lnTo>
                  <a:pt x="493581" y="410883"/>
                </a:lnTo>
                <a:lnTo>
                  <a:pt x="493581" y="460645"/>
                </a:lnTo>
                <a:lnTo>
                  <a:pt x="517729" y="460645"/>
                </a:lnTo>
                <a:lnTo>
                  <a:pt x="517729" y="510407"/>
                </a:lnTo>
                <a:lnTo>
                  <a:pt x="633348" y="510407"/>
                </a:lnTo>
                <a:lnTo>
                  <a:pt x="633348" y="560169"/>
                </a:lnTo>
                <a:lnTo>
                  <a:pt x="654084" y="560169"/>
                </a:lnTo>
                <a:lnTo>
                  <a:pt x="654084" y="609932"/>
                </a:lnTo>
                <a:lnTo>
                  <a:pt x="733482" y="609932"/>
                </a:lnTo>
                <a:lnTo>
                  <a:pt x="733482" y="659891"/>
                </a:lnTo>
                <a:lnTo>
                  <a:pt x="762879" y="659891"/>
                </a:lnTo>
                <a:lnTo>
                  <a:pt x="762879" y="709653"/>
                </a:lnTo>
                <a:lnTo>
                  <a:pt x="795557" y="709653"/>
                </a:lnTo>
                <a:lnTo>
                  <a:pt x="795557" y="759415"/>
                </a:lnTo>
                <a:lnTo>
                  <a:pt x="837028" y="759415"/>
                </a:lnTo>
                <a:lnTo>
                  <a:pt x="837028" y="809177"/>
                </a:lnTo>
                <a:lnTo>
                  <a:pt x="928369" y="809177"/>
                </a:lnTo>
                <a:lnTo>
                  <a:pt x="980338" y="809177"/>
                </a:lnTo>
                <a:lnTo>
                  <a:pt x="980338" y="861693"/>
                </a:lnTo>
                <a:lnTo>
                  <a:pt x="990575" y="861693"/>
                </a:lnTo>
                <a:lnTo>
                  <a:pt x="1258035" y="861693"/>
                </a:lnTo>
                <a:lnTo>
                  <a:pt x="1781014" y="861693"/>
                </a:lnTo>
                <a:lnTo>
                  <a:pt x="1781014" y="921290"/>
                </a:lnTo>
                <a:lnTo>
                  <a:pt x="2020914" y="921290"/>
                </a:lnTo>
                <a:lnTo>
                  <a:pt x="2020914" y="980886"/>
                </a:lnTo>
                <a:lnTo>
                  <a:pt x="3106373" y="980886"/>
                </a:lnTo>
                <a:lnTo>
                  <a:pt x="3142595" y="980886"/>
                </a:lnTo>
                <a:lnTo>
                  <a:pt x="3168448" y="980886"/>
                </a:lnTo>
                <a:lnTo>
                  <a:pt x="3203095" y="980886"/>
                </a:lnTo>
                <a:lnTo>
                  <a:pt x="3228948" y="980886"/>
                </a:lnTo>
                <a:lnTo>
                  <a:pt x="3246140" y="980886"/>
                </a:lnTo>
                <a:lnTo>
                  <a:pt x="3249553" y="980886"/>
                </a:lnTo>
                <a:lnTo>
                  <a:pt x="3344568" y="980886"/>
                </a:lnTo>
                <a:lnTo>
                  <a:pt x="3415304" y="980886"/>
                </a:lnTo>
                <a:lnTo>
                  <a:pt x="3517144" y="980886"/>
                </a:lnTo>
                <a:lnTo>
                  <a:pt x="3770825" y="980886"/>
                </a:lnTo>
                <a:lnTo>
                  <a:pt x="3788017" y="980886"/>
                </a:lnTo>
                <a:lnTo>
                  <a:pt x="3822532" y="980886"/>
                </a:lnTo>
              </a:path>
            </a:pathLst>
          </a:custGeom>
          <a:noFill/>
          <a:ln w="12700" cap="flat">
            <a:solidFill>
              <a:schemeClr val="accent2">
                <a:lumMod val="60000"/>
                <a:lumOff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FF7A3F42-758E-8518-9E9D-812A3B415EE4}"/>
              </a:ext>
            </a:extLst>
          </p:cNvPr>
          <p:cNvSpPr/>
          <p:nvPr/>
        </p:nvSpPr>
        <p:spPr>
          <a:xfrm>
            <a:off x="1843088" y="1862831"/>
            <a:ext cx="4086580" cy="427797"/>
          </a:xfrm>
          <a:custGeom>
            <a:avLst/>
            <a:gdLst>
              <a:gd name="connsiteX0" fmla="*/ 0 w 4086580"/>
              <a:gd name="connsiteY0" fmla="*/ 0 h 427797"/>
              <a:gd name="connsiteX1" fmla="*/ 50132 w 4086580"/>
              <a:gd name="connsiteY1" fmla="*/ 0 h 427797"/>
              <a:gd name="connsiteX2" fmla="*/ 65618 w 4086580"/>
              <a:gd name="connsiteY2" fmla="*/ 0 h 427797"/>
              <a:gd name="connsiteX3" fmla="*/ 91472 w 4086580"/>
              <a:gd name="connsiteY3" fmla="*/ 0 h 427797"/>
              <a:gd name="connsiteX4" fmla="*/ 96590 w 4086580"/>
              <a:gd name="connsiteY4" fmla="*/ 0 h 427797"/>
              <a:gd name="connsiteX5" fmla="*/ 110501 w 4086580"/>
              <a:gd name="connsiteY5" fmla="*/ 0 h 427797"/>
              <a:gd name="connsiteX6" fmla="*/ 124281 w 4086580"/>
              <a:gd name="connsiteY6" fmla="*/ 0 h 427797"/>
              <a:gd name="connsiteX7" fmla="*/ 145017 w 4086580"/>
              <a:gd name="connsiteY7" fmla="*/ 0 h 427797"/>
              <a:gd name="connsiteX8" fmla="*/ 146723 w 4086580"/>
              <a:gd name="connsiteY8" fmla="*/ 0 h 427797"/>
              <a:gd name="connsiteX9" fmla="*/ 148429 w 4086580"/>
              <a:gd name="connsiteY9" fmla="*/ 0 h 427797"/>
              <a:gd name="connsiteX10" fmla="*/ 150135 w 4086580"/>
              <a:gd name="connsiteY10" fmla="*/ 0 h 427797"/>
              <a:gd name="connsiteX11" fmla="*/ 170870 w 4086580"/>
              <a:gd name="connsiteY11" fmla="*/ 0 h 427797"/>
              <a:gd name="connsiteX12" fmla="*/ 231370 w 4086580"/>
              <a:gd name="connsiteY12" fmla="*/ 0 h 427797"/>
              <a:gd name="connsiteX13" fmla="*/ 339903 w 4086580"/>
              <a:gd name="connsiteY13" fmla="*/ 0 h 427797"/>
              <a:gd name="connsiteX14" fmla="*/ 362476 w 4086580"/>
              <a:gd name="connsiteY14" fmla="*/ 0 h 427797"/>
              <a:gd name="connsiteX15" fmla="*/ 364182 w 4086580"/>
              <a:gd name="connsiteY15" fmla="*/ 0 h 427797"/>
              <a:gd name="connsiteX16" fmla="*/ 415889 w 4086580"/>
              <a:gd name="connsiteY16" fmla="*/ 0 h 427797"/>
              <a:gd name="connsiteX17" fmla="*/ 448698 w 4086580"/>
              <a:gd name="connsiteY17" fmla="*/ 0 h 427797"/>
              <a:gd name="connsiteX18" fmla="*/ 493581 w 4086580"/>
              <a:gd name="connsiteY18" fmla="*/ 0 h 427797"/>
              <a:gd name="connsiteX19" fmla="*/ 493581 w 4086580"/>
              <a:gd name="connsiteY19" fmla="*/ 6884 h 427797"/>
              <a:gd name="connsiteX20" fmla="*/ 497125 w 4086580"/>
              <a:gd name="connsiteY20" fmla="*/ 6884 h 427797"/>
              <a:gd name="connsiteX21" fmla="*/ 576523 w 4086580"/>
              <a:gd name="connsiteY21" fmla="*/ 6884 h 427797"/>
              <a:gd name="connsiteX22" fmla="*/ 576523 w 4086580"/>
              <a:gd name="connsiteY22" fmla="*/ 13965 h 427797"/>
              <a:gd name="connsiteX23" fmla="*/ 629936 w 4086580"/>
              <a:gd name="connsiteY23" fmla="*/ 13965 h 427797"/>
              <a:gd name="connsiteX24" fmla="*/ 629936 w 4086580"/>
              <a:gd name="connsiteY24" fmla="*/ 20849 h 427797"/>
              <a:gd name="connsiteX25" fmla="*/ 711041 w 4086580"/>
              <a:gd name="connsiteY25" fmla="*/ 20849 h 427797"/>
              <a:gd name="connsiteX26" fmla="*/ 711041 w 4086580"/>
              <a:gd name="connsiteY26" fmla="*/ 27733 h 427797"/>
              <a:gd name="connsiteX27" fmla="*/ 769703 w 4086580"/>
              <a:gd name="connsiteY27" fmla="*/ 27733 h 427797"/>
              <a:gd name="connsiteX28" fmla="*/ 769703 w 4086580"/>
              <a:gd name="connsiteY28" fmla="*/ 34814 h 427797"/>
              <a:gd name="connsiteX29" fmla="*/ 826660 w 4086580"/>
              <a:gd name="connsiteY29" fmla="*/ 34814 h 427797"/>
              <a:gd name="connsiteX30" fmla="*/ 831910 w 4086580"/>
              <a:gd name="connsiteY30" fmla="*/ 34814 h 427797"/>
              <a:gd name="connsiteX31" fmla="*/ 831910 w 4086580"/>
              <a:gd name="connsiteY31" fmla="*/ 41698 h 427797"/>
              <a:gd name="connsiteX32" fmla="*/ 899103 w 4086580"/>
              <a:gd name="connsiteY32" fmla="*/ 41698 h 427797"/>
              <a:gd name="connsiteX33" fmla="*/ 899103 w 4086580"/>
              <a:gd name="connsiteY33" fmla="*/ 48779 h 427797"/>
              <a:gd name="connsiteX34" fmla="*/ 940574 w 4086580"/>
              <a:gd name="connsiteY34" fmla="*/ 48779 h 427797"/>
              <a:gd name="connsiteX35" fmla="*/ 940574 w 4086580"/>
              <a:gd name="connsiteY35" fmla="*/ 55860 h 427797"/>
              <a:gd name="connsiteX36" fmla="*/ 983750 w 4086580"/>
              <a:gd name="connsiteY36" fmla="*/ 55860 h 427797"/>
              <a:gd name="connsiteX37" fmla="*/ 1016560 w 4086580"/>
              <a:gd name="connsiteY37" fmla="*/ 55860 h 427797"/>
              <a:gd name="connsiteX38" fmla="*/ 1016560 w 4086580"/>
              <a:gd name="connsiteY38" fmla="*/ 62744 h 427797"/>
              <a:gd name="connsiteX39" fmla="*/ 1082047 w 4086580"/>
              <a:gd name="connsiteY39" fmla="*/ 62744 h 427797"/>
              <a:gd name="connsiteX40" fmla="*/ 1082047 w 4086580"/>
              <a:gd name="connsiteY40" fmla="*/ 69824 h 427797"/>
              <a:gd name="connsiteX41" fmla="*/ 1101076 w 4086580"/>
              <a:gd name="connsiteY41" fmla="*/ 69824 h 427797"/>
              <a:gd name="connsiteX42" fmla="*/ 1108032 w 4086580"/>
              <a:gd name="connsiteY42" fmla="*/ 69824 h 427797"/>
              <a:gd name="connsiteX43" fmla="*/ 1125224 w 4086580"/>
              <a:gd name="connsiteY43" fmla="*/ 69824 h 427797"/>
              <a:gd name="connsiteX44" fmla="*/ 1125224 w 4086580"/>
              <a:gd name="connsiteY44" fmla="*/ 76905 h 427797"/>
              <a:gd name="connsiteX45" fmla="*/ 1266828 w 4086580"/>
              <a:gd name="connsiteY45" fmla="*/ 76905 h 427797"/>
              <a:gd name="connsiteX46" fmla="*/ 1266828 w 4086580"/>
              <a:gd name="connsiteY46" fmla="*/ 83986 h 427797"/>
              <a:gd name="connsiteX47" fmla="*/ 1275359 w 4086580"/>
              <a:gd name="connsiteY47" fmla="*/ 83986 h 427797"/>
              <a:gd name="connsiteX48" fmla="*/ 1275359 w 4086580"/>
              <a:gd name="connsiteY48" fmla="*/ 91067 h 427797"/>
              <a:gd name="connsiteX49" fmla="*/ 1280477 w 4086580"/>
              <a:gd name="connsiteY49" fmla="*/ 91067 h 427797"/>
              <a:gd name="connsiteX50" fmla="*/ 1280477 w 4086580"/>
              <a:gd name="connsiteY50" fmla="*/ 98148 h 427797"/>
              <a:gd name="connsiteX51" fmla="*/ 1292682 w 4086580"/>
              <a:gd name="connsiteY51" fmla="*/ 98148 h 427797"/>
              <a:gd name="connsiteX52" fmla="*/ 1292682 w 4086580"/>
              <a:gd name="connsiteY52" fmla="*/ 105228 h 427797"/>
              <a:gd name="connsiteX53" fmla="*/ 1318535 w 4086580"/>
              <a:gd name="connsiteY53" fmla="*/ 105228 h 427797"/>
              <a:gd name="connsiteX54" fmla="*/ 1320241 w 4086580"/>
              <a:gd name="connsiteY54" fmla="*/ 105228 h 427797"/>
              <a:gd name="connsiteX55" fmla="*/ 1320241 w 4086580"/>
              <a:gd name="connsiteY55" fmla="*/ 112309 h 427797"/>
              <a:gd name="connsiteX56" fmla="*/ 1430743 w 4086580"/>
              <a:gd name="connsiteY56" fmla="*/ 112309 h 427797"/>
              <a:gd name="connsiteX57" fmla="*/ 1430743 w 4086580"/>
              <a:gd name="connsiteY57" fmla="*/ 126668 h 427797"/>
              <a:gd name="connsiteX58" fmla="*/ 1460009 w 4086580"/>
              <a:gd name="connsiteY58" fmla="*/ 126668 h 427797"/>
              <a:gd name="connsiteX59" fmla="*/ 1460009 w 4086580"/>
              <a:gd name="connsiteY59" fmla="*/ 133748 h 427797"/>
              <a:gd name="connsiteX60" fmla="*/ 1489406 w 4086580"/>
              <a:gd name="connsiteY60" fmla="*/ 133748 h 427797"/>
              <a:gd name="connsiteX61" fmla="*/ 1489406 w 4086580"/>
              <a:gd name="connsiteY61" fmla="*/ 140829 h 427797"/>
              <a:gd name="connsiteX62" fmla="*/ 1511847 w 4086580"/>
              <a:gd name="connsiteY62" fmla="*/ 140829 h 427797"/>
              <a:gd name="connsiteX63" fmla="*/ 1511847 w 4086580"/>
              <a:gd name="connsiteY63" fmla="*/ 147910 h 427797"/>
              <a:gd name="connsiteX64" fmla="*/ 1525627 w 4086580"/>
              <a:gd name="connsiteY64" fmla="*/ 147910 h 427797"/>
              <a:gd name="connsiteX65" fmla="*/ 1672218 w 4086580"/>
              <a:gd name="connsiteY65" fmla="*/ 147910 h 427797"/>
              <a:gd name="connsiteX66" fmla="*/ 1672218 w 4086580"/>
              <a:gd name="connsiteY66" fmla="*/ 154991 h 427797"/>
              <a:gd name="connsiteX67" fmla="*/ 1691248 w 4086580"/>
              <a:gd name="connsiteY67" fmla="*/ 154991 h 427797"/>
              <a:gd name="connsiteX68" fmla="*/ 1698072 w 4086580"/>
              <a:gd name="connsiteY68" fmla="*/ 154991 h 427797"/>
              <a:gd name="connsiteX69" fmla="*/ 1698072 w 4086580"/>
              <a:gd name="connsiteY69" fmla="*/ 169349 h 427797"/>
              <a:gd name="connsiteX70" fmla="*/ 1799912 w 4086580"/>
              <a:gd name="connsiteY70" fmla="*/ 169349 h 427797"/>
              <a:gd name="connsiteX71" fmla="*/ 1799912 w 4086580"/>
              <a:gd name="connsiteY71" fmla="*/ 176626 h 427797"/>
              <a:gd name="connsiteX72" fmla="*/ 1812117 w 4086580"/>
              <a:gd name="connsiteY72" fmla="*/ 176626 h 427797"/>
              <a:gd name="connsiteX73" fmla="*/ 1848338 w 4086580"/>
              <a:gd name="connsiteY73" fmla="*/ 176626 h 427797"/>
              <a:gd name="connsiteX74" fmla="*/ 1872485 w 4086580"/>
              <a:gd name="connsiteY74" fmla="*/ 176626 h 427797"/>
              <a:gd name="connsiteX75" fmla="*/ 1872485 w 4086580"/>
              <a:gd name="connsiteY75" fmla="*/ 183904 h 427797"/>
              <a:gd name="connsiteX76" fmla="*/ 1981150 w 4086580"/>
              <a:gd name="connsiteY76" fmla="*/ 183904 h 427797"/>
              <a:gd name="connsiteX77" fmla="*/ 1981150 w 4086580"/>
              <a:gd name="connsiteY77" fmla="*/ 190985 h 427797"/>
              <a:gd name="connsiteX78" fmla="*/ 2015796 w 4086580"/>
              <a:gd name="connsiteY78" fmla="*/ 190985 h 427797"/>
              <a:gd name="connsiteX79" fmla="*/ 2015796 w 4086580"/>
              <a:gd name="connsiteY79" fmla="*/ 198262 h 427797"/>
              <a:gd name="connsiteX80" fmla="*/ 2055430 w 4086580"/>
              <a:gd name="connsiteY80" fmla="*/ 198262 h 427797"/>
              <a:gd name="connsiteX81" fmla="*/ 2062385 w 4086580"/>
              <a:gd name="connsiteY81" fmla="*/ 198262 h 427797"/>
              <a:gd name="connsiteX82" fmla="*/ 2062385 w 4086580"/>
              <a:gd name="connsiteY82" fmla="*/ 205540 h 427797"/>
              <a:gd name="connsiteX83" fmla="*/ 2186535 w 4086580"/>
              <a:gd name="connsiteY83" fmla="*/ 205540 h 427797"/>
              <a:gd name="connsiteX84" fmla="*/ 2186535 w 4086580"/>
              <a:gd name="connsiteY84" fmla="*/ 212817 h 427797"/>
              <a:gd name="connsiteX85" fmla="*/ 2193491 w 4086580"/>
              <a:gd name="connsiteY85" fmla="*/ 212817 h 427797"/>
              <a:gd name="connsiteX86" fmla="*/ 2193491 w 4086580"/>
              <a:gd name="connsiteY86" fmla="*/ 220095 h 427797"/>
              <a:gd name="connsiteX87" fmla="*/ 2319347 w 4086580"/>
              <a:gd name="connsiteY87" fmla="*/ 220095 h 427797"/>
              <a:gd name="connsiteX88" fmla="*/ 2319347 w 4086580"/>
              <a:gd name="connsiteY88" fmla="*/ 227372 h 427797"/>
              <a:gd name="connsiteX89" fmla="*/ 2355699 w 4086580"/>
              <a:gd name="connsiteY89" fmla="*/ 227372 h 427797"/>
              <a:gd name="connsiteX90" fmla="*/ 2364361 w 4086580"/>
              <a:gd name="connsiteY90" fmla="*/ 227372 h 427797"/>
              <a:gd name="connsiteX91" fmla="*/ 2483393 w 4086580"/>
              <a:gd name="connsiteY91" fmla="*/ 227372 h 427797"/>
              <a:gd name="connsiteX92" fmla="*/ 2483393 w 4086580"/>
              <a:gd name="connsiteY92" fmla="*/ 234650 h 427797"/>
              <a:gd name="connsiteX93" fmla="*/ 2559247 w 4086580"/>
              <a:gd name="connsiteY93" fmla="*/ 234650 h 427797"/>
              <a:gd name="connsiteX94" fmla="*/ 2559247 w 4086580"/>
              <a:gd name="connsiteY94" fmla="*/ 242124 h 427797"/>
              <a:gd name="connsiteX95" fmla="*/ 2562791 w 4086580"/>
              <a:gd name="connsiteY95" fmla="*/ 242124 h 427797"/>
              <a:gd name="connsiteX96" fmla="*/ 2621322 w 4086580"/>
              <a:gd name="connsiteY96" fmla="*/ 242124 h 427797"/>
              <a:gd name="connsiteX97" fmla="*/ 2654132 w 4086580"/>
              <a:gd name="connsiteY97" fmla="*/ 242124 h 427797"/>
              <a:gd name="connsiteX98" fmla="*/ 2654132 w 4086580"/>
              <a:gd name="connsiteY98" fmla="*/ 249401 h 427797"/>
              <a:gd name="connsiteX99" fmla="*/ 2711219 w 4086580"/>
              <a:gd name="connsiteY99" fmla="*/ 249401 h 427797"/>
              <a:gd name="connsiteX100" fmla="*/ 2775132 w 4086580"/>
              <a:gd name="connsiteY100" fmla="*/ 249401 h 427797"/>
              <a:gd name="connsiteX101" fmla="*/ 2775132 w 4086580"/>
              <a:gd name="connsiteY101" fmla="*/ 256875 h 427797"/>
              <a:gd name="connsiteX102" fmla="*/ 2781956 w 4086580"/>
              <a:gd name="connsiteY102" fmla="*/ 256875 h 427797"/>
              <a:gd name="connsiteX103" fmla="*/ 2821721 w 4086580"/>
              <a:gd name="connsiteY103" fmla="*/ 256875 h 427797"/>
              <a:gd name="connsiteX104" fmla="*/ 2821721 w 4086580"/>
              <a:gd name="connsiteY104" fmla="*/ 264350 h 427797"/>
              <a:gd name="connsiteX105" fmla="*/ 2823296 w 4086580"/>
              <a:gd name="connsiteY105" fmla="*/ 264350 h 427797"/>
              <a:gd name="connsiteX106" fmla="*/ 2870016 w 4086580"/>
              <a:gd name="connsiteY106" fmla="*/ 264350 h 427797"/>
              <a:gd name="connsiteX107" fmla="*/ 2873428 w 4086580"/>
              <a:gd name="connsiteY107" fmla="*/ 264350 h 427797"/>
              <a:gd name="connsiteX108" fmla="*/ 2878546 w 4086580"/>
              <a:gd name="connsiteY108" fmla="*/ 264350 h 427797"/>
              <a:gd name="connsiteX109" fmla="*/ 2878546 w 4086580"/>
              <a:gd name="connsiteY109" fmla="*/ 272020 h 427797"/>
              <a:gd name="connsiteX110" fmla="*/ 2881959 w 4086580"/>
              <a:gd name="connsiteY110" fmla="*/ 272020 h 427797"/>
              <a:gd name="connsiteX111" fmla="*/ 2888914 w 4086580"/>
              <a:gd name="connsiteY111" fmla="*/ 272020 h 427797"/>
              <a:gd name="connsiteX112" fmla="*/ 2892326 w 4086580"/>
              <a:gd name="connsiteY112" fmla="*/ 272020 h 427797"/>
              <a:gd name="connsiteX113" fmla="*/ 2899282 w 4086580"/>
              <a:gd name="connsiteY113" fmla="*/ 272020 h 427797"/>
              <a:gd name="connsiteX114" fmla="*/ 2900988 w 4086580"/>
              <a:gd name="connsiteY114" fmla="*/ 272020 h 427797"/>
              <a:gd name="connsiteX115" fmla="*/ 2909650 w 4086580"/>
              <a:gd name="connsiteY115" fmla="*/ 272020 h 427797"/>
              <a:gd name="connsiteX116" fmla="*/ 2911355 w 4086580"/>
              <a:gd name="connsiteY116" fmla="*/ 272020 h 427797"/>
              <a:gd name="connsiteX117" fmla="*/ 2913193 w 4086580"/>
              <a:gd name="connsiteY117" fmla="*/ 272020 h 427797"/>
              <a:gd name="connsiteX118" fmla="*/ 2914768 w 4086580"/>
              <a:gd name="connsiteY118" fmla="*/ 272020 h 427797"/>
              <a:gd name="connsiteX119" fmla="*/ 2916605 w 4086580"/>
              <a:gd name="connsiteY119" fmla="*/ 272020 h 427797"/>
              <a:gd name="connsiteX120" fmla="*/ 2925135 w 4086580"/>
              <a:gd name="connsiteY120" fmla="*/ 272020 h 427797"/>
              <a:gd name="connsiteX121" fmla="*/ 2945871 w 4086580"/>
              <a:gd name="connsiteY121" fmla="*/ 272020 h 427797"/>
              <a:gd name="connsiteX122" fmla="*/ 2950989 w 4086580"/>
              <a:gd name="connsiteY122" fmla="*/ 272020 h 427797"/>
              <a:gd name="connsiteX123" fmla="*/ 2959651 w 4086580"/>
              <a:gd name="connsiteY123" fmla="*/ 272020 h 427797"/>
              <a:gd name="connsiteX124" fmla="*/ 2973431 w 4086580"/>
              <a:gd name="connsiteY124" fmla="*/ 272020 h 427797"/>
              <a:gd name="connsiteX125" fmla="*/ 2985636 w 4086580"/>
              <a:gd name="connsiteY125" fmla="*/ 272020 h 427797"/>
              <a:gd name="connsiteX126" fmla="*/ 2989048 w 4086580"/>
              <a:gd name="connsiteY126" fmla="*/ 272020 h 427797"/>
              <a:gd name="connsiteX127" fmla="*/ 2996003 w 4086580"/>
              <a:gd name="connsiteY127" fmla="*/ 272020 h 427797"/>
              <a:gd name="connsiteX128" fmla="*/ 3002827 w 4086580"/>
              <a:gd name="connsiteY128" fmla="*/ 272020 h 427797"/>
              <a:gd name="connsiteX129" fmla="*/ 3002827 w 4086580"/>
              <a:gd name="connsiteY129" fmla="*/ 280871 h 427797"/>
              <a:gd name="connsiteX130" fmla="*/ 3004534 w 4086580"/>
              <a:gd name="connsiteY130" fmla="*/ 280871 h 427797"/>
              <a:gd name="connsiteX131" fmla="*/ 3004534 w 4086580"/>
              <a:gd name="connsiteY131" fmla="*/ 289526 h 427797"/>
              <a:gd name="connsiteX132" fmla="*/ 3006240 w 4086580"/>
              <a:gd name="connsiteY132" fmla="*/ 289526 h 427797"/>
              <a:gd name="connsiteX133" fmla="*/ 3013195 w 4086580"/>
              <a:gd name="connsiteY133" fmla="*/ 289526 h 427797"/>
              <a:gd name="connsiteX134" fmla="*/ 3014901 w 4086580"/>
              <a:gd name="connsiteY134" fmla="*/ 289526 h 427797"/>
              <a:gd name="connsiteX135" fmla="*/ 3028812 w 4086580"/>
              <a:gd name="connsiteY135" fmla="*/ 289526 h 427797"/>
              <a:gd name="connsiteX136" fmla="*/ 3028812 w 4086580"/>
              <a:gd name="connsiteY136" fmla="*/ 298377 h 427797"/>
              <a:gd name="connsiteX137" fmla="*/ 3033931 w 4086580"/>
              <a:gd name="connsiteY137" fmla="*/ 298377 h 427797"/>
              <a:gd name="connsiteX138" fmla="*/ 3045873 w 4086580"/>
              <a:gd name="connsiteY138" fmla="*/ 298377 h 427797"/>
              <a:gd name="connsiteX139" fmla="*/ 3051254 w 4086580"/>
              <a:gd name="connsiteY139" fmla="*/ 298377 h 427797"/>
              <a:gd name="connsiteX140" fmla="*/ 3054666 w 4086580"/>
              <a:gd name="connsiteY140" fmla="*/ 298377 h 427797"/>
              <a:gd name="connsiteX141" fmla="*/ 3071858 w 4086580"/>
              <a:gd name="connsiteY141" fmla="*/ 298377 h 427797"/>
              <a:gd name="connsiteX142" fmla="*/ 3077108 w 4086580"/>
              <a:gd name="connsiteY142" fmla="*/ 298377 h 427797"/>
              <a:gd name="connsiteX143" fmla="*/ 3082226 w 4086580"/>
              <a:gd name="connsiteY143" fmla="*/ 298377 h 427797"/>
              <a:gd name="connsiteX144" fmla="*/ 3083932 w 4086580"/>
              <a:gd name="connsiteY144" fmla="*/ 298377 h 427797"/>
              <a:gd name="connsiteX145" fmla="*/ 3090887 w 4086580"/>
              <a:gd name="connsiteY145" fmla="*/ 298377 h 427797"/>
              <a:gd name="connsiteX146" fmla="*/ 3092593 w 4086580"/>
              <a:gd name="connsiteY146" fmla="*/ 298377 h 427797"/>
              <a:gd name="connsiteX147" fmla="*/ 3094299 w 4086580"/>
              <a:gd name="connsiteY147" fmla="*/ 298377 h 427797"/>
              <a:gd name="connsiteX148" fmla="*/ 3097712 w 4086580"/>
              <a:gd name="connsiteY148" fmla="*/ 298377 h 427797"/>
              <a:gd name="connsiteX149" fmla="*/ 3099418 w 4086580"/>
              <a:gd name="connsiteY149" fmla="*/ 298377 h 427797"/>
              <a:gd name="connsiteX150" fmla="*/ 3101124 w 4086580"/>
              <a:gd name="connsiteY150" fmla="*/ 298377 h 427797"/>
              <a:gd name="connsiteX151" fmla="*/ 3113329 w 4086580"/>
              <a:gd name="connsiteY151" fmla="*/ 298377 h 427797"/>
              <a:gd name="connsiteX152" fmla="*/ 3116741 w 4086580"/>
              <a:gd name="connsiteY152" fmla="*/ 298377 h 427797"/>
              <a:gd name="connsiteX153" fmla="*/ 3127109 w 4086580"/>
              <a:gd name="connsiteY153" fmla="*/ 298377 h 427797"/>
              <a:gd name="connsiteX154" fmla="*/ 3130521 w 4086580"/>
              <a:gd name="connsiteY154" fmla="*/ 298377 h 427797"/>
              <a:gd name="connsiteX155" fmla="*/ 3133933 w 4086580"/>
              <a:gd name="connsiteY155" fmla="*/ 298377 h 427797"/>
              <a:gd name="connsiteX156" fmla="*/ 3139182 w 4086580"/>
              <a:gd name="connsiteY156" fmla="*/ 298377 h 427797"/>
              <a:gd name="connsiteX157" fmla="*/ 3154668 w 4086580"/>
              <a:gd name="connsiteY157" fmla="*/ 298377 h 427797"/>
              <a:gd name="connsiteX158" fmla="*/ 3156506 w 4086580"/>
              <a:gd name="connsiteY158" fmla="*/ 298377 h 427797"/>
              <a:gd name="connsiteX159" fmla="*/ 3163330 w 4086580"/>
              <a:gd name="connsiteY159" fmla="*/ 298377 h 427797"/>
              <a:gd name="connsiteX160" fmla="*/ 3166742 w 4086580"/>
              <a:gd name="connsiteY160" fmla="*/ 298377 h 427797"/>
              <a:gd name="connsiteX161" fmla="*/ 3168448 w 4086580"/>
              <a:gd name="connsiteY161" fmla="*/ 298377 h 427797"/>
              <a:gd name="connsiteX162" fmla="*/ 3170286 w 4086580"/>
              <a:gd name="connsiteY162" fmla="*/ 298377 h 427797"/>
              <a:gd name="connsiteX163" fmla="*/ 3170286 w 4086580"/>
              <a:gd name="connsiteY163" fmla="*/ 309195 h 427797"/>
              <a:gd name="connsiteX164" fmla="*/ 3171992 w 4086580"/>
              <a:gd name="connsiteY164" fmla="*/ 309195 h 427797"/>
              <a:gd name="connsiteX165" fmla="*/ 3178816 w 4086580"/>
              <a:gd name="connsiteY165" fmla="*/ 309195 h 427797"/>
              <a:gd name="connsiteX166" fmla="*/ 3189315 w 4086580"/>
              <a:gd name="connsiteY166" fmla="*/ 309195 h 427797"/>
              <a:gd name="connsiteX167" fmla="*/ 3190890 w 4086580"/>
              <a:gd name="connsiteY167" fmla="*/ 309195 h 427797"/>
              <a:gd name="connsiteX168" fmla="*/ 3192727 w 4086580"/>
              <a:gd name="connsiteY168" fmla="*/ 309195 h 427797"/>
              <a:gd name="connsiteX169" fmla="*/ 3196139 w 4086580"/>
              <a:gd name="connsiteY169" fmla="*/ 309195 h 427797"/>
              <a:gd name="connsiteX170" fmla="*/ 3197845 w 4086580"/>
              <a:gd name="connsiteY170" fmla="*/ 309195 h 427797"/>
              <a:gd name="connsiteX171" fmla="*/ 3199683 w 4086580"/>
              <a:gd name="connsiteY171" fmla="*/ 309195 h 427797"/>
              <a:gd name="connsiteX172" fmla="*/ 3201257 w 4086580"/>
              <a:gd name="connsiteY172" fmla="*/ 309195 h 427797"/>
              <a:gd name="connsiteX173" fmla="*/ 3203095 w 4086580"/>
              <a:gd name="connsiteY173" fmla="*/ 309195 h 427797"/>
              <a:gd name="connsiteX174" fmla="*/ 3206376 w 4086580"/>
              <a:gd name="connsiteY174" fmla="*/ 309195 h 427797"/>
              <a:gd name="connsiteX175" fmla="*/ 3211625 w 4086580"/>
              <a:gd name="connsiteY175" fmla="*/ 309195 h 427797"/>
              <a:gd name="connsiteX176" fmla="*/ 3215169 w 4086580"/>
              <a:gd name="connsiteY176" fmla="*/ 309195 h 427797"/>
              <a:gd name="connsiteX177" fmla="*/ 3216743 w 4086580"/>
              <a:gd name="connsiteY177" fmla="*/ 309195 h 427797"/>
              <a:gd name="connsiteX178" fmla="*/ 3221993 w 4086580"/>
              <a:gd name="connsiteY178" fmla="*/ 309195 h 427797"/>
              <a:gd name="connsiteX179" fmla="*/ 3227111 w 4086580"/>
              <a:gd name="connsiteY179" fmla="*/ 309195 h 427797"/>
              <a:gd name="connsiteX180" fmla="*/ 3232361 w 4086580"/>
              <a:gd name="connsiteY180" fmla="*/ 309195 h 427797"/>
              <a:gd name="connsiteX181" fmla="*/ 3239185 w 4086580"/>
              <a:gd name="connsiteY181" fmla="*/ 309195 h 427797"/>
              <a:gd name="connsiteX182" fmla="*/ 3249553 w 4086580"/>
              <a:gd name="connsiteY182" fmla="*/ 309195 h 427797"/>
              <a:gd name="connsiteX183" fmla="*/ 3249553 w 4086580"/>
              <a:gd name="connsiteY183" fmla="*/ 322373 h 427797"/>
              <a:gd name="connsiteX184" fmla="*/ 3261757 w 4086580"/>
              <a:gd name="connsiteY184" fmla="*/ 322373 h 427797"/>
              <a:gd name="connsiteX185" fmla="*/ 3265170 w 4086580"/>
              <a:gd name="connsiteY185" fmla="*/ 322373 h 427797"/>
              <a:gd name="connsiteX186" fmla="*/ 3265170 w 4086580"/>
              <a:gd name="connsiteY186" fmla="*/ 336141 h 427797"/>
              <a:gd name="connsiteX187" fmla="*/ 3271994 w 4086580"/>
              <a:gd name="connsiteY187" fmla="*/ 336141 h 427797"/>
              <a:gd name="connsiteX188" fmla="*/ 3273831 w 4086580"/>
              <a:gd name="connsiteY188" fmla="*/ 336141 h 427797"/>
              <a:gd name="connsiteX189" fmla="*/ 3292729 w 4086580"/>
              <a:gd name="connsiteY189" fmla="*/ 336141 h 427797"/>
              <a:gd name="connsiteX190" fmla="*/ 3292729 w 4086580"/>
              <a:gd name="connsiteY190" fmla="*/ 349909 h 427797"/>
              <a:gd name="connsiteX191" fmla="*/ 3294567 w 4086580"/>
              <a:gd name="connsiteY191" fmla="*/ 349909 h 427797"/>
              <a:gd name="connsiteX192" fmla="*/ 3304803 w 4086580"/>
              <a:gd name="connsiteY192" fmla="*/ 349909 h 427797"/>
              <a:gd name="connsiteX193" fmla="*/ 3311759 w 4086580"/>
              <a:gd name="connsiteY193" fmla="*/ 349909 h 427797"/>
              <a:gd name="connsiteX194" fmla="*/ 3335906 w 4086580"/>
              <a:gd name="connsiteY194" fmla="*/ 349909 h 427797"/>
              <a:gd name="connsiteX195" fmla="*/ 3337612 w 4086580"/>
              <a:gd name="connsiteY195" fmla="*/ 349909 h 427797"/>
              <a:gd name="connsiteX196" fmla="*/ 3346274 w 4086580"/>
              <a:gd name="connsiteY196" fmla="*/ 349909 h 427797"/>
              <a:gd name="connsiteX197" fmla="*/ 3347980 w 4086580"/>
              <a:gd name="connsiteY197" fmla="*/ 349909 h 427797"/>
              <a:gd name="connsiteX198" fmla="*/ 3349686 w 4086580"/>
              <a:gd name="connsiteY198" fmla="*/ 349909 h 427797"/>
              <a:gd name="connsiteX199" fmla="*/ 3370422 w 4086580"/>
              <a:gd name="connsiteY199" fmla="*/ 349909 h 427797"/>
              <a:gd name="connsiteX200" fmla="*/ 3373834 w 4086580"/>
              <a:gd name="connsiteY200" fmla="*/ 349909 h 427797"/>
              <a:gd name="connsiteX201" fmla="*/ 3385908 w 4086580"/>
              <a:gd name="connsiteY201" fmla="*/ 349909 h 427797"/>
              <a:gd name="connsiteX202" fmla="*/ 3391026 w 4086580"/>
              <a:gd name="connsiteY202" fmla="*/ 349909 h 427797"/>
              <a:gd name="connsiteX203" fmla="*/ 3392863 w 4086580"/>
              <a:gd name="connsiteY203" fmla="*/ 349909 h 427797"/>
              <a:gd name="connsiteX204" fmla="*/ 3404937 w 4086580"/>
              <a:gd name="connsiteY204" fmla="*/ 349909 h 427797"/>
              <a:gd name="connsiteX205" fmla="*/ 3408349 w 4086580"/>
              <a:gd name="connsiteY205" fmla="*/ 349909 h 427797"/>
              <a:gd name="connsiteX206" fmla="*/ 3418717 w 4086580"/>
              <a:gd name="connsiteY206" fmla="*/ 349909 h 427797"/>
              <a:gd name="connsiteX207" fmla="*/ 3420423 w 4086580"/>
              <a:gd name="connsiteY207" fmla="*/ 349909 h 427797"/>
              <a:gd name="connsiteX208" fmla="*/ 3422260 w 4086580"/>
              <a:gd name="connsiteY208" fmla="*/ 349909 h 427797"/>
              <a:gd name="connsiteX209" fmla="*/ 3432628 w 4086580"/>
              <a:gd name="connsiteY209" fmla="*/ 349909 h 427797"/>
              <a:gd name="connsiteX210" fmla="*/ 3448114 w 4086580"/>
              <a:gd name="connsiteY210" fmla="*/ 349909 h 427797"/>
              <a:gd name="connsiteX211" fmla="*/ 3456644 w 4086580"/>
              <a:gd name="connsiteY211" fmla="*/ 349909 h 427797"/>
              <a:gd name="connsiteX212" fmla="*/ 3458481 w 4086580"/>
              <a:gd name="connsiteY212" fmla="*/ 349909 h 427797"/>
              <a:gd name="connsiteX213" fmla="*/ 3461894 w 4086580"/>
              <a:gd name="connsiteY213" fmla="*/ 349909 h 427797"/>
              <a:gd name="connsiteX214" fmla="*/ 3463600 w 4086580"/>
              <a:gd name="connsiteY214" fmla="*/ 349909 h 427797"/>
              <a:gd name="connsiteX215" fmla="*/ 3463600 w 4086580"/>
              <a:gd name="connsiteY215" fmla="*/ 368791 h 427797"/>
              <a:gd name="connsiteX216" fmla="*/ 3465306 w 4086580"/>
              <a:gd name="connsiteY216" fmla="*/ 368791 h 427797"/>
              <a:gd name="connsiteX217" fmla="*/ 3470555 w 4086580"/>
              <a:gd name="connsiteY217" fmla="*/ 368791 h 427797"/>
              <a:gd name="connsiteX218" fmla="*/ 3480923 w 4086580"/>
              <a:gd name="connsiteY218" fmla="*/ 368791 h 427797"/>
              <a:gd name="connsiteX219" fmla="*/ 3482498 w 4086580"/>
              <a:gd name="connsiteY219" fmla="*/ 368791 h 427797"/>
              <a:gd name="connsiteX220" fmla="*/ 3484335 w 4086580"/>
              <a:gd name="connsiteY220" fmla="*/ 368791 h 427797"/>
              <a:gd name="connsiteX221" fmla="*/ 3489453 w 4086580"/>
              <a:gd name="connsiteY221" fmla="*/ 368791 h 427797"/>
              <a:gd name="connsiteX222" fmla="*/ 3494703 w 4086580"/>
              <a:gd name="connsiteY222" fmla="*/ 368791 h 427797"/>
              <a:gd name="connsiteX223" fmla="*/ 3499821 w 4086580"/>
              <a:gd name="connsiteY223" fmla="*/ 368791 h 427797"/>
              <a:gd name="connsiteX224" fmla="*/ 3501658 w 4086580"/>
              <a:gd name="connsiteY224" fmla="*/ 368791 h 427797"/>
              <a:gd name="connsiteX225" fmla="*/ 3505070 w 4086580"/>
              <a:gd name="connsiteY225" fmla="*/ 368791 h 427797"/>
              <a:gd name="connsiteX226" fmla="*/ 3517144 w 4086580"/>
              <a:gd name="connsiteY226" fmla="*/ 368791 h 427797"/>
              <a:gd name="connsiteX227" fmla="*/ 3523968 w 4086580"/>
              <a:gd name="connsiteY227" fmla="*/ 368791 h 427797"/>
              <a:gd name="connsiteX228" fmla="*/ 3525675 w 4086580"/>
              <a:gd name="connsiteY228" fmla="*/ 368791 h 427797"/>
              <a:gd name="connsiteX229" fmla="*/ 3529087 w 4086580"/>
              <a:gd name="connsiteY229" fmla="*/ 368791 h 427797"/>
              <a:gd name="connsiteX230" fmla="*/ 3534336 w 4086580"/>
              <a:gd name="connsiteY230" fmla="*/ 368791 h 427797"/>
              <a:gd name="connsiteX231" fmla="*/ 3536042 w 4086580"/>
              <a:gd name="connsiteY231" fmla="*/ 368791 h 427797"/>
              <a:gd name="connsiteX232" fmla="*/ 3553366 w 4086580"/>
              <a:gd name="connsiteY232" fmla="*/ 368791 h 427797"/>
              <a:gd name="connsiteX233" fmla="*/ 3565439 w 4086580"/>
              <a:gd name="connsiteY233" fmla="*/ 368791 h 427797"/>
              <a:gd name="connsiteX234" fmla="*/ 3589587 w 4086580"/>
              <a:gd name="connsiteY234" fmla="*/ 368791 h 427797"/>
              <a:gd name="connsiteX235" fmla="*/ 3605073 w 4086580"/>
              <a:gd name="connsiteY235" fmla="*/ 368791 h 427797"/>
              <a:gd name="connsiteX236" fmla="*/ 3617147 w 4086580"/>
              <a:gd name="connsiteY236" fmla="*/ 368791 h 427797"/>
              <a:gd name="connsiteX237" fmla="*/ 3617147 w 4086580"/>
              <a:gd name="connsiteY237" fmla="*/ 396918 h 427797"/>
              <a:gd name="connsiteX238" fmla="*/ 3632764 w 4086580"/>
              <a:gd name="connsiteY238" fmla="*/ 396918 h 427797"/>
              <a:gd name="connsiteX239" fmla="*/ 3660324 w 4086580"/>
              <a:gd name="connsiteY239" fmla="*/ 396918 h 427797"/>
              <a:gd name="connsiteX240" fmla="*/ 3662030 w 4086580"/>
              <a:gd name="connsiteY240" fmla="*/ 396918 h 427797"/>
              <a:gd name="connsiteX241" fmla="*/ 3686309 w 4086580"/>
              <a:gd name="connsiteY241" fmla="*/ 396918 h 427797"/>
              <a:gd name="connsiteX242" fmla="*/ 3688014 w 4086580"/>
              <a:gd name="connsiteY242" fmla="*/ 396918 h 427797"/>
              <a:gd name="connsiteX243" fmla="*/ 3688014 w 4086580"/>
              <a:gd name="connsiteY243" fmla="*/ 427798 h 427797"/>
              <a:gd name="connsiteX244" fmla="*/ 3693133 w 4086580"/>
              <a:gd name="connsiteY244" fmla="*/ 427798 h 427797"/>
              <a:gd name="connsiteX245" fmla="*/ 3698382 w 4086580"/>
              <a:gd name="connsiteY245" fmla="*/ 427798 h 427797"/>
              <a:gd name="connsiteX246" fmla="*/ 3706912 w 4086580"/>
              <a:gd name="connsiteY246" fmla="*/ 427798 h 427797"/>
              <a:gd name="connsiteX247" fmla="*/ 3712162 w 4086580"/>
              <a:gd name="connsiteY247" fmla="*/ 427798 h 427797"/>
              <a:gd name="connsiteX248" fmla="*/ 3724236 w 4086580"/>
              <a:gd name="connsiteY248" fmla="*/ 427798 h 427797"/>
              <a:gd name="connsiteX249" fmla="*/ 3727648 w 4086580"/>
              <a:gd name="connsiteY249" fmla="*/ 427798 h 427797"/>
              <a:gd name="connsiteX250" fmla="*/ 3732766 w 4086580"/>
              <a:gd name="connsiteY250" fmla="*/ 427798 h 427797"/>
              <a:gd name="connsiteX251" fmla="*/ 3736178 w 4086580"/>
              <a:gd name="connsiteY251" fmla="*/ 427798 h 427797"/>
              <a:gd name="connsiteX252" fmla="*/ 3746546 w 4086580"/>
              <a:gd name="connsiteY252" fmla="*/ 427798 h 427797"/>
              <a:gd name="connsiteX253" fmla="*/ 3748383 w 4086580"/>
              <a:gd name="connsiteY253" fmla="*/ 427798 h 427797"/>
              <a:gd name="connsiteX254" fmla="*/ 3751927 w 4086580"/>
              <a:gd name="connsiteY254" fmla="*/ 427798 h 427797"/>
              <a:gd name="connsiteX255" fmla="*/ 3757045 w 4086580"/>
              <a:gd name="connsiteY255" fmla="*/ 427798 h 427797"/>
              <a:gd name="connsiteX256" fmla="*/ 3758620 w 4086580"/>
              <a:gd name="connsiteY256" fmla="*/ 427798 h 427797"/>
              <a:gd name="connsiteX257" fmla="*/ 3763869 w 4086580"/>
              <a:gd name="connsiteY257" fmla="*/ 427798 h 427797"/>
              <a:gd name="connsiteX258" fmla="*/ 3770825 w 4086580"/>
              <a:gd name="connsiteY258" fmla="*/ 427798 h 427797"/>
              <a:gd name="connsiteX259" fmla="*/ 3772531 w 4086580"/>
              <a:gd name="connsiteY259" fmla="*/ 427798 h 427797"/>
              <a:gd name="connsiteX260" fmla="*/ 3775943 w 4086580"/>
              <a:gd name="connsiteY260" fmla="*/ 427798 h 427797"/>
              <a:gd name="connsiteX261" fmla="*/ 3793266 w 4086580"/>
              <a:gd name="connsiteY261" fmla="*/ 427798 h 427797"/>
              <a:gd name="connsiteX262" fmla="*/ 3794841 w 4086580"/>
              <a:gd name="connsiteY262" fmla="*/ 427798 h 427797"/>
              <a:gd name="connsiteX263" fmla="*/ 3807046 w 4086580"/>
              <a:gd name="connsiteY263" fmla="*/ 427798 h 427797"/>
              <a:gd name="connsiteX264" fmla="*/ 3824238 w 4086580"/>
              <a:gd name="connsiteY264" fmla="*/ 427798 h 427797"/>
              <a:gd name="connsiteX265" fmla="*/ 3838018 w 4086580"/>
              <a:gd name="connsiteY265" fmla="*/ 427798 h 427797"/>
              <a:gd name="connsiteX266" fmla="*/ 3867415 w 4086580"/>
              <a:gd name="connsiteY266" fmla="*/ 427798 h 427797"/>
              <a:gd name="connsiteX267" fmla="*/ 3869121 w 4086580"/>
              <a:gd name="connsiteY267" fmla="*/ 427798 h 427797"/>
              <a:gd name="connsiteX268" fmla="*/ 3877783 w 4086580"/>
              <a:gd name="connsiteY268" fmla="*/ 427798 h 427797"/>
              <a:gd name="connsiteX269" fmla="*/ 3881195 w 4086580"/>
              <a:gd name="connsiteY269" fmla="*/ 427798 h 427797"/>
              <a:gd name="connsiteX270" fmla="*/ 3893269 w 4086580"/>
              <a:gd name="connsiteY270" fmla="*/ 427798 h 427797"/>
              <a:gd name="connsiteX271" fmla="*/ 3953638 w 4086580"/>
              <a:gd name="connsiteY271" fmla="*/ 427798 h 427797"/>
              <a:gd name="connsiteX272" fmla="*/ 3955475 w 4086580"/>
              <a:gd name="connsiteY272" fmla="*/ 427798 h 427797"/>
              <a:gd name="connsiteX273" fmla="*/ 3960593 w 4086580"/>
              <a:gd name="connsiteY273" fmla="*/ 427798 h 427797"/>
              <a:gd name="connsiteX274" fmla="*/ 3989990 w 4086580"/>
              <a:gd name="connsiteY274" fmla="*/ 427798 h 427797"/>
              <a:gd name="connsiteX275" fmla="*/ 4012301 w 4086580"/>
              <a:gd name="connsiteY275" fmla="*/ 427798 h 427797"/>
              <a:gd name="connsiteX276" fmla="*/ 4046947 w 4086580"/>
              <a:gd name="connsiteY276" fmla="*/ 427798 h 427797"/>
              <a:gd name="connsiteX277" fmla="*/ 4065845 w 4086580"/>
              <a:gd name="connsiteY277" fmla="*/ 427798 h 427797"/>
              <a:gd name="connsiteX278" fmla="*/ 4086581 w 4086580"/>
              <a:gd name="connsiteY278" fmla="*/ 427798 h 42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4086580" h="427797">
                <a:moveTo>
                  <a:pt x="0" y="0"/>
                </a:moveTo>
                <a:lnTo>
                  <a:pt x="50132" y="0"/>
                </a:lnTo>
                <a:lnTo>
                  <a:pt x="65618" y="0"/>
                </a:lnTo>
                <a:lnTo>
                  <a:pt x="91472" y="0"/>
                </a:lnTo>
                <a:lnTo>
                  <a:pt x="96590" y="0"/>
                </a:lnTo>
                <a:lnTo>
                  <a:pt x="110501" y="0"/>
                </a:lnTo>
                <a:lnTo>
                  <a:pt x="124281" y="0"/>
                </a:lnTo>
                <a:lnTo>
                  <a:pt x="145017" y="0"/>
                </a:lnTo>
                <a:lnTo>
                  <a:pt x="146723" y="0"/>
                </a:lnTo>
                <a:lnTo>
                  <a:pt x="148429" y="0"/>
                </a:lnTo>
                <a:lnTo>
                  <a:pt x="150135" y="0"/>
                </a:lnTo>
                <a:lnTo>
                  <a:pt x="170870" y="0"/>
                </a:lnTo>
                <a:lnTo>
                  <a:pt x="231370" y="0"/>
                </a:lnTo>
                <a:lnTo>
                  <a:pt x="339903" y="0"/>
                </a:lnTo>
                <a:lnTo>
                  <a:pt x="362476" y="0"/>
                </a:lnTo>
                <a:lnTo>
                  <a:pt x="364182" y="0"/>
                </a:lnTo>
                <a:lnTo>
                  <a:pt x="415889" y="0"/>
                </a:lnTo>
                <a:lnTo>
                  <a:pt x="448698" y="0"/>
                </a:lnTo>
                <a:lnTo>
                  <a:pt x="493581" y="0"/>
                </a:lnTo>
                <a:lnTo>
                  <a:pt x="493581" y="6884"/>
                </a:lnTo>
                <a:lnTo>
                  <a:pt x="497125" y="6884"/>
                </a:lnTo>
                <a:lnTo>
                  <a:pt x="576523" y="6884"/>
                </a:lnTo>
                <a:lnTo>
                  <a:pt x="576523" y="13965"/>
                </a:lnTo>
                <a:lnTo>
                  <a:pt x="629936" y="13965"/>
                </a:lnTo>
                <a:lnTo>
                  <a:pt x="629936" y="20849"/>
                </a:lnTo>
                <a:lnTo>
                  <a:pt x="711041" y="20849"/>
                </a:lnTo>
                <a:lnTo>
                  <a:pt x="711041" y="27733"/>
                </a:lnTo>
                <a:lnTo>
                  <a:pt x="769703" y="27733"/>
                </a:lnTo>
                <a:lnTo>
                  <a:pt x="769703" y="34814"/>
                </a:lnTo>
                <a:lnTo>
                  <a:pt x="826660" y="34814"/>
                </a:lnTo>
                <a:lnTo>
                  <a:pt x="831910" y="34814"/>
                </a:lnTo>
                <a:lnTo>
                  <a:pt x="831910" y="41698"/>
                </a:lnTo>
                <a:lnTo>
                  <a:pt x="899103" y="41698"/>
                </a:lnTo>
                <a:lnTo>
                  <a:pt x="899103" y="48779"/>
                </a:lnTo>
                <a:lnTo>
                  <a:pt x="940574" y="48779"/>
                </a:lnTo>
                <a:lnTo>
                  <a:pt x="940574" y="55860"/>
                </a:lnTo>
                <a:lnTo>
                  <a:pt x="983750" y="55860"/>
                </a:lnTo>
                <a:lnTo>
                  <a:pt x="1016560" y="55860"/>
                </a:lnTo>
                <a:lnTo>
                  <a:pt x="1016560" y="62744"/>
                </a:lnTo>
                <a:lnTo>
                  <a:pt x="1082047" y="62744"/>
                </a:lnTo>
                <a:lnTo>
                  <a:pt x="1082047" y="69824"/>
                </a:lnTo>
                <a:lnTo>
                  <a:pt x="1101076" y="69824"/>
                </a:lnTo>
                <a:lnTo>
                  <a:pt x="1108032" y="69824"/>
                </a:lnTo>
                <a:lnTo>
                  <a:pt x="1125224" y="69824"/>
                </a:lnTo>
                <a:lnTo>
                  <a:pt x="1125224" y="76905"/>
                </a:lnTo>
                <a:lnTo>
                  <a:pt x="1266828" y="76905"/>
                </a:lnTo>
                <a:lnTo>
                  <a:pt x="1266828" y="83986"/>
                </a:lnTo>
                <a:lnTo>
                  <a:pt x="1275359" y="83986"/>
                </a:lnTo>
                <a:lnTo>
                  <a:pt x="1275359" y="91067"/>
                </a:lnTo>
                <a:lnTo>
                  <a:pt x="1280477" y="91067"/>
                </a:lnTo>
                <a:lnTo>
                  <a:pt x="1280477" y="98148"/>
                </a:lnTo>
                <a:lnTo>
                  <a:pt x="1292682" y="98148"/>
                </a:lnTo>
                <a:lnTo>
                  <a:pt x="1292682" y="105228"/>
                </a:lnTo>
                <a:lnTo>
                  <a:pt x="1318535" y="105228"/>
                </a:lnTo>
                <a:lnTo>
                  <a:pt x="1320241" y="105228"/>
                </a:lnTo>
                <a:lnTo>
                  <a:pt x="1320241" y="112309"/>
                </a:lnTo>
                <a:lnTo>
                  <a:pt x="1430743" y="112309"/>
                </a:lnTo>
                <a:lnTo>
                  <a:pt x="1430743" y="126668"/>
                </a:lnTo>
                <a:lnTo>
                  <a:pt x="1460009" y="126668"/>
                </a:lnTo>
                <a:lnTo>
                  <a:pt x="1460009" y="133748"/>
                </a:lnTo>
                <a:lnTo>
                  <a:pt x="1489406" y="133748"/>
                </a:lnTo>
                <a:lnTo>
                  <a:pt x="1489406" y="140829"/>
                </a:lnTo>
                <a:lnTo>
                  <a:pt x="1511847" y="140829"/>
                </a:lnTo>
                <a:lnTo>
                  <a:pt x="1511847" y="147910"/>
                </a:lnTo>
                <a:lnTo>
                  <a:pt x="1525627" y="147910"/>
                </a:lnTo>
                <a:lnTo>
                  <a:pt x="1672218" y="147910"/>
                </a:lnTo>
                <a:lnTo>
                  <a:pt x="1672218" y="154991"/>
                </a:lnTo>
                <a:lnTo>
                  <a:pt x="1691248" y="154991"/>
                </a:lnTo>
                <a:lnTo>
                  <a:pt x="1698072" y="154991"/>
                </a:lnTo>
                <a:lnTo>
                  <a:pt x="1698072" y="169349"/>
                </a:lnTo>
                <a:lnTo>
                  <a:pt x="1799912" y="169349"/>
                </a:lnTo>
                <a:lnTo>
                  <a:pt x="1799912" y="176626"/>
                </a:lnTo>
                <a:lnTo>
                  <a:pt x="1812117" y="176626"/>
                </a:lnTo>
                <a:lnTo>
                  <a:pt x="1848338" y="176626"/>
                </a:lnTo>
                <a:lnTo>
                  <a:pt x="1872485" y="176626"/>
                </a:lnTo>
                <a:lnTo>
                  <a:pt x="1872485" y="183904"/>
                </a:lnTo>
                <a:lnTo>
                  <a:pt x="1981150" y="183904"/>
                </a:lnTo>
                <a:lnTo>
                  <a:pt x="1981150" y="190985"/>
                </a:lnTo>
                <a:lnTo>
                  <a:pt x="2015796" y="190985"/>
                </a:lnTo>
                <a:lnTo>
                  <a:pt x="2015796" y="198262"/>
                </a:lnTo>
                <a:lnTo>
                  <a:pt x="2055430" y="198262"/>
                </a:lnTo>
                <a:lnTo>
                  <a:pt x="2062385" y="198262"/>
                </a:lnTo>
                <a:lnTo>
                  <a:pt x="2062385" y="205540"/>
                </a:lnTo>
                <a:lnTo>
                  <a:pt x="2186535" y="205540"/>
                </a:lnTo>
                <a:lnTo>
                  <a:pt x="2186535" y="212817"/>
                </a:lnTo>
                <a:lnTo>
                  <a:pt x="2193491" y="212817"/>
                </a:lnTo>
                <a:lnTo>
                  <a:pt x="2193491" y="220095"/>
                </a:lnTo>
                <a:lnTo>
                  <a:pt x="2319347" y="220095"/>
                </a:lnTo>
                <a:lnTo>
                  <a:pt x="2319347" y="227372"/>
                </a:lnTo>
                <a:lnTo>
                  <a:pt x="2355699" y="227372"/>
                </a:lnTo>
                <a:lnTo>
                  <a:pt x="2364361" y="227372"/>
                </a:lnTo>
                <a:lnTo>
                  <a:pt x="2483393" y="227372"/>
                </a:lnTo>
                <a:lnTo>
                  <a:pt x="2483393" y="234650"/>
                </a:lnTo>
                <a:lnTo>
                  <a:pt x="2559247" y="234650"/>
                </a:lnTo>
                <a:lnTo>
                  <a:pt x="2559247" y="242124"/>
                </a:lnTo>
                <a:lnTo>
                  <a:pt x="2562791" y="242124"/>
                </a:lnTo>
                <a:lnTo>
                  <a:pt x="2621322" y="242124"/>
                </a:lnTo>
                <a:lnTo>
                  <a:pt x="2654132" y="242124"/>
                </a:lnTo>
                <a:lnTo>
                  <a:pt x="2654132" y="249401"/>
                </a:lnTo>
                <a:lnTo>
                  <a:pt x="2711219" y="249401"/>
                </a:lnTo>
                <a:lnTo>
                  <a:pt x="2775132" y="249401"/>
                </a:lnTo>
                <a:lnTo>
                  <a:pt x="2775132" y="256875"/>
                </a:lnTo>
                <a:lnTo>
                  <a:pt x="2781956" y="256875"/>
                </a:lnTo>
                <a:lnTo>
                  <a:pt x="2821721" y="256875"/>
                </a:lnTo>
                <a:lnTo>
                  <a:pt x="2821721" y="264350"/>
                </a:lnTo>
                <a:lnTo>
                  <a:pt x="2823296" y="264350"/>
                </a:lnTo>
                <a:lnTo>
                  <a:pt x="2870016" y="264350"/>
                </a:lnTo>
                <a:lnTo>
                  <a:pt x="2873428" y="264350"/>
                </a:lnTo>
                <a:lnTo>
                  <a:pt x="2878546" y="264350"/>
                </a:lnTo>
                <a:lnTo>
                  <a:pt x="2878546" y="272020"/>
                </a:lnTo>
                <a:lnTo>
                  <a:pt x="2881959" y="272020"/>
                </a:lnTo>
                <a:lnTo>
                  <a:pt x="2888914" y="272020"/>
                </a:lnTo>
                <a:lnTo>
                  <a:pt x="2892326" y="272020"/>
                </a:lnTo>
                <a:lnTo>
                  <a:pt x="2899282" y="272020"/>
                </a:lnTo>
                <a:lnTo>
                  <a:pt x="2900988" y="272020"/>
                </a:lnTo>
                <a:lnTo>
                  <a:pt x="2909650" y="272020"/>
                </a:lnTo>
                <a:lnTo>
                  <a:pt x="2911355" y="272020"/>
                </a:lnTo>
                <a:lnTo>
                  <a:pt x="2913193" y="272020"/>
                </a:lnTo>
                <a:lnTo>
                  <a:pt x="2914768" y="272020"/>
                </a:lnTo>
                <a:lnTo>
                  <a:pt x="2916605" y="272020"/>
                </a:lnTo>
                <a:lnTo>
                  <a:pt x="2925135" y="272020"/>
                </a:lnTo>
                <a:lnTo>
                  <a:pt x="2945871" y="272020"/>
                </a:lnTo>
                <a:lnTo>
                  <a:pt x="2950989" y="272020"/>
                </a:lnTo>
                <a:lnTo>
                  <a:pt x="2959651" y="272020"/>
                </a:lnTo>
                <a:lnTo>
                  <a:pt x="2973431" y="272020"/>
                </a:lnTo>
                <a:lnTo>
                  <a:pt x="2985636" y="272020"/>
                </a:lnTo>
                <a:lnTo>
                  <a:pt x="2989048" y="272020"/>
                </a:lnTo>
                <a:lnTo>
                  <a:pt x="2996003" y="272020"/>
                </a:lnTo>
                <a:lnTo>
                  <a:pt x="3002827" y="272020"/>
                </a:lnTo>
                <a:lnTo>
                  <a:pt x="3002827" y="280871"/>
                </a:lnTo>
                <a:lnTo>
                  <a:pt x="3004534" y="280871"/>
                </a:lnTo>
                <a:lnTo>
                  <a:pt x="3004534" y="289526"/>
                </a:lnTo>
                <a:lnTo>
                  <a:pt x="3006240" y="289526"/>
                </a:lnTo>
                <a:lnTo>
                  <a:pt x="3013195" y="289526"/>
                </a:lnTo>
                <a:lnTo>
                  <a:pt x="3014901" y="289526"/>
                </a:lnTo>
                <a:lnTo>
                  <a:pt x="3028812" y="289526"/>
                </a:lnTo>
                <a:lnTo>
                  <a:pt x="3028812" y="298377"/>
                </a:lnTo>
                <a:lnTo>
                  <a:pt x="3033931" y="298377"/>
                </a:lnTo>
                <a:lnTo>
                  <a:pt x="3045873" y="298377"/>
                </a:lnTo>
                <a:lnTo>
                  <a:pt x="3051254" y="298377"/>
                </a:lnTo>
                <a:lnTo>
                  <a:pt x="3054666" y="298377"/>
                </a:lnTo>
                <a:lnTo>
                  <a:pt x="3071858" y="298377"/>
                </a:lnTo>
                <a:lnTo>
                  <a:pt x="3077108" y="298377"/>
                </a:lnTo>
                <a:lnTo>
                  <a:pt x="3082226" y="298377"/>
                </a:lnTo>
                <a:lnTo>
                  <a:pt x="3083932" y="298377"/>
                </a:lnTo>
                <a:lnTo>
                  <a:pt x="3090887" y="298377"/>
                </a:lnTo>
                <a:lnTo>
                  <a:pt x="3092593" y="298377"/>
                </a:lnTo>
                <a:lnTo>
                  <a:pt x="3094299" y="298377"/>
                </a:lnTo>
                <a:lnTo>
                  <a:pt x="3097712" y="298377"/>
                </a:lnTo>
                <a:lnTo>
                  <a:pt x="3099418" y="298377"/>
                </a:lnTo>
                <a:lnTo>
                  <a:pt x="3101124" y="298377"/>
                </a:lnTo>
                <a:lnTo>
                  <a:pt x="3113329" y="298377"/>
                </a:lnTo>
                <a:lnTo>
                  <a:pt x="3116741" y="298377"/>
                </a:lnTo>
                <a:lnTo>
                  <a:pt x="3127109" y="298377"/>
                </a:lnTo>
                <a:lnTo>
                  <a:pt x="3130521" y="298377"/>
                </a:lnTo>
                <a:lnTo>
                  <a:pt x="3133933" y="298377"/>
                </a:lnTo>
                <a:lnTo>
                  <a:pt x="3139182" y="298377"/>
                </a:lnTo>
                <a:lnTo>
                  <a:pt x="3154668" y="298377"/>
                </a:lnTo>
                <a:lnTo>
                  <a:pt x="3156506" y="298377"/>
                </a:lnTo>
                <a:lnTo>
                  <a:pt x="3163330" y="298377"/>
                </a:lnTo>
                <a:lnTo>
                  <a:pt x="3166742" y="298377"/>
                </a:lnTo>
                <a:lnTo>
                  <a:pt x="3168448" y="298377"/>
                </a:lnTo>
                <a:lnTo>
                  <a:pt x="3170286" y="298377"/>
                </a:lnTo>
                <a:lnTo>
                  <a:pt x="3170286" y="309195"/>
                </a:lnTo>
                <a:lnTo>
                  <a:pt x="3171992" y="309195"/>
                </a:lnTo>
                <a:lnTo>
                  <a:pt x="3178816" y="309195"/>
                </a:lnTo>
                <a:lnTo>
                  <a:pt x="3189315" y="309195"/>
                </a:lnTo>
                <a:lnTo>
                  <a:pt x="3190890" y="309195"/>
                </a:lnTo>
                <a:lnTo>
                  <a:pt x="3192727" y="309195"/>
                </a:lnTo>
                <a:lnTo>
                  <a:pt x="3196139" y="309195"/>
                </a:lnTo>
                <a:lnTo>
                  <a:pt x="3197845" y="309195"/>
                </a:lnTo>
                <a:lnTo>
                  <a:pt x="3199683" y="309195"/>
                </a:lnTo>
                <a:lnTo>
                  <a:pt x="3201257" y="309195"/>
                </a:lnTo>
                <a:lnTo>
                  <a:pt x="3203095" y="309195"/>
                </a:lnTo>
                <a:lnTo>
                  <a:pt x="3206376" y="309195"/>
                </a:lnTo>
                <a:lnTo>
                  <a:pt x="3211625" y="309195"/>
                </a:lnTo>
                <a:lnTo>
                  <a:pt x="3215169" y="309195"/>
                </a:lnTo>
                <a:lnTo>
                  <a:pt x="3216743" y="309195"/>
                </a:lnTo>
                <a:lnTo>
                  <a:pt x="3221993" y="309195"/>
                </a:lnTo>
                <a:lnTo>
                  <a:pt x="3227111" y="309195"/>
                </a:lnTo>
                <a:lnTo>
                  <a:pt x="3232361" y="309195"/>
                </a:lnTo>
                <a:lnTo>
                  <a:pt x="3239185" y="309195"/>
                </a:lnTo>
                <a:lnTo>
                  <a:pt x="3249553" y="309195"/>
                </a:lnTo>
                <a:lnTo>
                  <a:pt x="3249553" y="322373"/>
                </a:lnTo>
                <a:lnTo>
                  <a:pt x="3261757" y="322373"/>
                </a:lnTo>
                <a:lnTo>
                  <a:pt x="3265170" y="322373"/>
                </a:lnTo>
                <a:lnTo>
                  <a:pt x="3265170" y="336141"/>
                </a:lnTo>
                <a:lnTo>
                  <a:pt x="3271994" y="336141"/>
                </a:lnTo>
                <a:lnTo>
                  <a:pt x="3273831" y="336141"/>
                </a:lnTo>
                <a:lnTo>
                  <a:pt x="3292729" y="336141"/>
                </a:lnTo>
                <a:lnTo>
                  <a:pt x="3292729" y="349909"/>
                </a:lnTo>
                <a:lnTo>
                  <a:pt x="3294567" y="349909"/>
                </a:lnTo>
                <a:lnTo>
                  <a:pt x="3304803" y="349909"/>
                </a:lnTo>
                <a:lnTo>
                  <a:pt x="3311759" y="349909"/>
                </a:lnTo>
                <a:lnTo>
                  <a:pt x="3335906" y="349909"/>
                </a:lnTo>
                <a:lnTo>
                  <a:pt x="3337612" y="349909"/>
                </a:lnTo>
                <a:lnTo>
                  <a:pt x="3346274" y="349909"/>
                </a:lnTo>
                <a:lnTo>
                  <a:pt x="3347980" y="349909"/>
                </a:lnTo>
                <a:lnTo>
                  <a:pt x="3349686" y="349909"/>
                </a:lnTo>
                <a:lnTo>
                  <a:pt x="3370422" y="349909"/>
                </a:lnTo>
                <a:lnTo>
                  <a:pt x="3373834" y="349909"/>
                </a:lnTo>
                <a:lnTo>
                  <a:pt x="3385908" y="349909"/>
                </a:lnTo>
                <a:lnTo>
                  <a:pt x="3391026" y="349909"/>
                </a:lnTo>
                <a:lnTo>
                  <a:pt x="3392863" y="349909"/>
                </a:lnTo>
                <a:lnTo>
                  <a:pt x="3404937" y="349909"/>
                </a:lnTo>
                <a:lnTo>
                  <a:pt x="3408349" y="349909"/>
                </a:lnTo>
                <a:lnTo>
                  <a:pt x="3418717" y="349909"/>
                </a:lnTo>
                <a:lnTo>
                  <a:pt x="3420423" y="349909"/>
                </a:lnTo>
                <a:lnTo>
                  <a:pt x="3422260" y="349909"/>
                </a:lnTo>
                <a:lnTo>
                  <a:pt x="3432628" y="349909"/>
                </a:lnTo>
                <a:lnTo>
                  <a:pt x="3448114" y="349909"/>
                </a:lnTo>
                <a:lnTo>
                  <a:pt x="3456644" y="349909"/>
                </a:lnTo>
                <a:lnTo>
                  <a:pt x="3458481" y="349909"/>
                </a:lnTo>
                <a:lnTo>
                  <a:pt x="3461894" y="349909"/>
                </a:lnTo>
                <a:lnTo>
                  <a:pt x="3463600" y="349909"/>
                </a:lnTo>
                <a:lnTo>
                  <a:pt x="3463600" y="368791"/>
                </a:lnTo>
                <a:lnTo>
                  <a:pt x="3465306" y="368791"/>
                </a:lnTo>
                <a:lnTo>
                  <a:pt x="3470555" y="368791"/>
                </a:lnTo>
                <a:lnTo>
                  <a:pt x="3480923" y="368791"/>
                </a:lnTo>
                <a:lnTo>
                  <a:pt x="3482498" y="368791"/>
                </a:lnTo>
                <a:lnTo>
                  <a:pt x="3484335" y="368791"/>
                </a:lnTo>
                <a:lnTo>
                  <a:pt x="3489453" y="368791"/>
                </a:lnTo>
                <a:lnTo>
                  <a:pt x="3494703" y="368791"/>
                </a:lnTo>
                <a:lnTo>
                  <a:pt x="3499821" y="368791"/>
                </a:lnTo>
                <a:lnTo>
                  <a:pt x="3501658" y="368791"/>
                </a:lnTo>
                <a:lnTo>
                  <a:pt x="3505070" y="368791"/>
                </a:lnTo>
                <a:lnTo>
                  <a:pt x="3517144" y="368791"/>
                </a:lnTo>
                <a:lnTo>
                  <a:pt x="3523968" y="368791"/>
                </a:lnTo>
                <a:lnTo>
                  <a:pt x="3525675" y="368791"/>
                </a:lnTo>
                <a:lnTo>
                  <a:pt x="3529087" y="368791"/>
                </a:lnTo>
                <a:lnTo>
                  <a:pt x="3534336" y="368791"/>
                </a:lnTo>
                <a:lnTo>
                  <a:pt x="3536042" y="368791"/>
                </a:lnTo>
                <a:lnTo>
                  <a:pt x="3553366" y="368791"/>
                </a:lnTo>
                <a:lnTo>
                  <a:pt x="3565439" y="368791"/>
                </a:lnTo>
                <a:lnTo>
                  <a:pt x="3589587" y="368791"/>
                </a:lnTo>
                <a:lnTo>
                  <a:pt x="3605073" y="368791"/>
                </a:lnTo>
                <a:lnTo>
                  <a:pt x="3617147" y="368791"/>
                </a:lnTo>
                <a:lnTo>
                  <a:pt x="3617147" y="396918"/>
                </a:lnTo>
                <a:lnTo>
                  <a:pt x="3632764" y="396918"/>
                </a:lnTo>
                <a:lnTo>
                  <a:pt x="3660324" y="396918"/>
                </a:lnTo>
                <a:lnTo>
                  <a:pt x="3662030" y="396918"/>
                </a:lnTo>
                <a:lnTo>
                  <a:pt x="3686309" y="396918"/>
                </a:lnTo>
                <a:lnTo>
                  <a:pt x="3688014" y="396918"/>
                </a:lnTo>
                <a:lnTo>
                  <a:pt x="3688014" y="427798"/>
                </a:lnTo>
                <a:lnTo>
                  <a:pt x="3693133" y="427798"/>
                </a:lnTo>
                <a:lnTo>
                  <a:pt x="3698382" y="427798"/>
                </a:lnTo>
                <a:lnTo>
                  <a:pt x="3706912" y="427798"/>
                </a:lnTo>
                <a:lnTo>
                  <a:pt x="3712162" y="427798"/>
                </a:lnTo>
                <a:lnTo>
                  <a:pt x="3724236" y="427798"/>
                </a:lnTo>
                <a:lnTo>
                  <a:pt x="3727648" y="427798"/>
                </a:lnTo>
                <a:lnTo>
                  <a:pt x="3732766" y="427798"/>
                </a:lnTo>
                <a:lnTo>
                  <a:pt x="3736178" y="427798"/>
                </a:lnTo>
                <a:lnTo>
                  <a:pt x="3746546" y="427798"/>
                </a:lnTo>
                <a:lnTo>
                  <a:pt x="3748383" y="427798"/>
                </a:lnTo>
                <a:lnTo>
                  <a:pt x="3751927" y="427798"/>
                </a:lnTo>
                <a:lnTo>
                  <a:pt x="3757045" y="427798"/>
                </a:lnTo>
                <a:lnTo>
                  <a:pt x="3758620" y="427798"/>
                </a:lnTo>
                <a:lnTo>
                  <a:pt x="3763869" y="427798"/>
                </a:lnTo>
                <a:lnTo>
                  <a:pt x="3770825" y="427798"/>
                </a:lnTo>
                <a:lnTo>
                  <a:pt x="3772531" y="427798"/>
                </a:lnTo>
                <a:lnTo>
                  <a:pt x="3775943" y="427798"/>
                </a:lnTo>
                <a:lnTo>
                  <a:pt x="3793266" y="427798"/>
                </a:lnTo>
                <a:lnTo>
                  <a:pt x="3794841" y="427798"/>
                </a:lnTo>
                <a:lnTo>
                  <a:pt x="3807046" y="427798"/>
                </a:lnTo>
                <a:lnTo>
                  <a:pt x="3824238" y="427798"/>
                </a:lnTo>
                <a:lnTo>
                  <a:pt x="3838018" y="427798"/>
                </a:lnTo>
                <a:lnTo>
                  <a:pt x="3867415" y="427798"/>
                </a:lnTo>
                <a:lnTo>
                  <a:pt x="3869121" y="427798"/>
                </a:lnTo>
                <a:lnTo>
                  <a:pt x="3877783" y="427798"/>
                </a:lnTo>
                <a:lnTo>
                  <a:pt x="3881195" y="427798"/>
                </a:lnTo>
                <a:lnTo>
                  <a:pt x="3893269" y="427798"/>
                </a:lnTo>
                <a:lnTo>
                  <a:pt x="3953638" y="427798"/>
                </a:lnTo>
                <a:lnTo>
                  <a:pt x="3955475" y="427798"/>
                </a:lnTo>
                <a:lnTo>
                  <a:pt x="3960593" y="427798"/>
                </a:lnTo>
                <a:lnTo>
                  <a:pt x="3989990" y="427798"/>
                </a:lnTo>
                <a:lnTo>
                  <a:pt x="4012301" y="427798"/>
                </a:lnTo>
                <a:lnTo>
                  <a:pt x="4046947" y="427798"/>
                </a:lnTo>
                <a:lnTo>
                  <a:pt x="4065845" y="427798"/>
                </a:lnTo>
                <a:lnTo>
                  <a:pt x="4086581" y="427798"/>
                </a:lnTo>
              </a:path>
            </a:pathLst>
          </a:custGeom>
          <a:noFill/>
          <a:ln w="12700" cap="flat">
            <a:solidFill>
              <a:schemeClr val="accent6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1B1E8FAF-1FF5-DDE5-AAD2-342B78057542}"/>
              </a:ext>
            </a:extLst>
          </p:cNvPr>
          <p:cNvSpPr/>
          <p:nvPr/>
        </p:nvSpPr>
        <p:spPr>
          <a:xfrm>
            <a:off x="1843088" y="1862831"/>
            <a:ext cx="4083168" cy="1034189"/>
          </a:xfrm>
          <a:custGeom>
            <a:avLst/>
            <a:gdLst>
              <a:gd name="connsiteX0" fmla="*/ 0 w 4083168"/>
              <a:gd name="connsiteY0" fmla="*/ 0 h 1034189"/>
              <a:gd name="connsiteX1" fmla="*/ 43177 w 4083168"/>
              <a:gd name="connsiteY1" fmla="*/ 0 h 1034189"/>
              <a:gd name="connsiteX2" fmla="*/ 50132 w 4083168"/>
              <a:gd name="connsiteY2" fmla="*/ 0 h 1034189"/>
              <a:gd name="connsiteX3" fmla="*/ 381374 w 4083168"/>
              <a:gd name="connsiteY3" fmla="*/ 0 h 1034189"/>
              <a:gd name="connsiteX4" fmla="*/ 417726 w 4083168"/>
              <a:gd name="connsiteY4" fmla="*/ 0 h 1034189"/>
              <a:gd name="connsiteX5" fmla="*/ 417726 w 4083168"/>
              <a:gd name="connsiteY5" fmla="*/ 50156 h 1034189"/>
              <a:gd name="connsiteX6" fmla="*/ 421139 w 4083168"/>
              <a:gd name="connsiteY6" fmla="*/ 50156 h 1034189"/>
              <a:gd name="connsiteX7" fmla="*/ 421139 w 4083168"/>
              <a:gd name="connsiteY7" fmla="*/ 150467 h 1034189"/>
              <a:gd name="connsiteX8" fmla="*/ 459066 w 4083168"/>
              <a:gd name="connsiteY8" fmla="*/ 150467 h 1034189"/>
              <a:gd name="connsiteX9" fmla="*/ 459066 w 4083168"/>
              <a:gd name="connsiteY9" fmla="*/ 200622 h 1034189"/>
              <a:gd name="connsiteX10" fmla="*/ 559200 w 4083168"/>
              <a:gd name="connsiteY10" fmla="*/ 200622 h 1034189"/>
              <a:gd name="connsiteX11" fmla="*/ 559200 w 4083168"/>
              <a:gd name="connsiteY11" fmla="*/ 250778 h 1034189"/>
              <a:gd name="connsiteX12" fmla="*/ 585053 w 4083168"/>
              <a:gd name="connsiteY12" fmla="*/ 250778 h 1034189"/>
              <a:gd name="connsiteX13" fmla="*/ 585053 w 4083168"/>
              <a:gd name="connsiteY13" fmla="*/ 300934 h 1034189"/>
              <a:gd name="connsiteX14" fmla="*/ 650672 w 4083168"/>
              <a:gd name="connsiteY14" fmla="*/ 300934 h 1034189"/>
              <a:gd name="connsiteX15" fmla="*/ 662614 w 4083168"/>
              <a:gd name="connsiteY15" fmla="*/ 300934 h 1034189"/>
              <a:gd name="connsiteX16" fmla="*/ 662614 w 4083168"/>
              <a:gd name="connsiteY16" fmla="*/ 352860 h 1034189"/>
              <a:gd name="connsiteX17" fmla="*/ 730070 w 4083168"/>
              <a:gd name="connsiteY17" fmla="*/ 352860 h 1034189"/>
              <a:gd name="connsiteX18" fmla="*/ 730070 w 4083168"/>
              <a:gd name="connsiteY18" fmla="*/ 404785 h 1034189"/>
              <a:gd name="connsiteX19" fmla="*/ 800675 w 4083168"/>
              <a:gd name="connsiteY19" fmla="*/ 404785 h 1034189"/>
              <a:gd name="connsiteX20" fmla="*/ 800675 w 4083168"/>
              <a:gd name="connsiteY20" fmla="*/ 456711 h 1034189"/>
              <a:gd name="connsiteX21" fmla="*/ 833484 w 4083168"/>
              <a:gd name="connsiteY21" fmla="*/ 456711 h 1034189"/>
              <a:gd name="connsiteX22" fmla="*/ 833484 w 4083168"/>
              <a:gd name="connsiteY22" fmla="*/ 508637 h 1034189"/>
              <a:gd name="connsiteX23" fmla="*/ 840440 w 4083168"/>
              <a:gd name="connsiteY23" fmla="*/ 508637 h 1034189"/>
              <a:gd name="connsiteX24" fmla="*/ 840440 w 4083168"/>
              <a:gd name="connsiteY24" fmla="*/ 560563 h 1034189"/>
              <a:gd name="connsiteX25" fmla="*/ 993987 w 4083168"/>
              <a:gd name="connsiteY25" fmla="*/ 560563 h 1034189"/>
              <a:gd name="connsiteX26" fmla="*/ 1168401 w 4083168"/>
              <a:gd name="connsiteY26" fmla="*/ 560563 h 1034189"/>
              <a:gd name="connsiteX27" fmla="*/ 1168401 w 4083168"/>
              <a:gd name="connsiteY27" fmla="*/ 614849 h 1034189"/>
              <a:gd name="connsiteX28" fmla="*/ 1308168 w 4083168"/>
              <a:gd name="connsiteY28" fmla="*/ 614849 h 1034189"/>
              <a:gd name="connsiteX29" fmla="*/ 1308168 w 4083168"/>
              <a:gd name="connsiteY29" fmla="*/ 669135 h 1034189"/>
              <a:gd name="connsiteX30" fmla="*/ 1703321 w 4083168"/>
              <a:gd name="connsiteY30" fmla="*/ 669135 h 1034189"/>
              <a:gd name="connsiteX31" fmla="*/ 1703321 w 4083168"/>
              <a:gd name="connsiteY31" fmla="*/ 723421 h 1034189"/>
              <a:gd name="connsiteX32" fmla="*/ 1718939 w 4083168"/>
              <a:gd name="connsiteY32" fmla="*/ 723421 h 1034189"/>
              <a:gd name="connsiteX33" fmla="*/ 1718939 w 4083168"/>
              <a:gd name="connsiteY33" fmla="*/ 777707 h 1034189"/>
              <a:gd name="connsiteX34" fmla="*/ 2029445 w 4083168"/>
              <a:gd name="connsiteY34" fmla="*/ 777707 h 1034189"/>
              <a:gd name="connsiteX35" fmla="*/ 2029445 w 4083168"/>
              <a:gd name="connsiteY35" fmla="*/ 831993 h 1034189"/>
              <a:gd name="connsiteX36" fmla="*/ 2117505 w 4083168"/>
              <a:gd name="connsiteY36" fmla="*/ 831993 h 1034189"/>
              <a:gd name="connsiteX37" fmla="*/ 2117505 w 4083168"/>
              <a:gd name="connsiteY37" fmla="*/ 886279 h 1034189"/>
              <a:gd name="connsiteX38" fmla="*/ 2331552 w 4083168"/>
              <a:gd name="connsiteY38" fmla="*/ 886279 h 1034189"/>
              <a:gd name="connsiteX39" fmla="*/ 2595469 w 4083168"/>
              <a:gd name="connsiteY39" fmla="*/ 886279 h 1034189"/>
              <a:gd name="connsiteX40" fmla="*/ 2595469 w 4083168"/>
              <a:gd name="connsiteY40" fmla="*/ 944106 h 1034189"/>
              <a:gd name="connsiteX41" fmla="*/ 3061621 w 4083168"/>
              <a:gd name="connsiteY41" fmla="*/ 944106 h 1034189"/>
              <a:gd name="connsiteX42" fmla="*/ 3128815 w 4083168"/>
              <a:gd name="connsiteY42" fmla="*/ 944106 h 1034189"/>
              <a:gd name="connsiteX43" fmla="*/ 3203095 w 4083168"/>
              <a:gd name="connsiteY43" fmla="*/ 944106 h 1034189"/>
              <a:gd name="connsiteX44" fmla="*/ 3209919 w 4083168"/>
              <a:gd name="connsiteY44" fmla="*/ 944106 h 1034189"/>
              <a:gd name="connsiteX45" fmla="*/ 3228948 w 4083168"/>
              <a:gd name="connsiteY45" fmla="*/ 944106 h 1034189"/>
              <a:gd name="connsiteX46" fmla="*/ 3254802 w 4083168"/>
              <a:gd name="connsiteY46" fmla="*/ 944106 h 1034189"/>
              <a:gd name="connsiteX47" fmla="*/ 3254802 w 4083168"/>
              <a:gd name="connsiteY47" fmla="*/ 1034189 h 1034189"/>
              <a:gd name="connsiteX48" fmla="*/ 3265170 w 4083168"/>
              <a:gd name="connsiteY48" fmla="*/ 1034189 h 1034189"/>
              <a:gd name="connsiteX49" fmla="*/ 3763869 w 4083168"/>
              <a:gd name="connsiteY49" fmla="*/ 1034189 h 1034189"/>
              <a:gd name="connsiteX50" fmla="*/ 3819120 w 4083168"/>
              <a:gd name="connsiteY50" fmla="*/ 1034189 h 1034189"/>
              <a:gd name="connsiteX51" fmla="*/ 3931327 w 4083168"/>
              <a:gd name="connsiteY51" fmla="*/ 1034189 h 1034189"/>
              <a:gd name="connsiteX52" fmla="*/ 3969255 w 4083168"/>
              <a:gd name="connsiteY52" fmla="*/ 1034189 h 1034189"/>
              <a:gd name="connsiteX53" fmla="*/ 4048653 w 4083168"/>
              <a:gd name="connsiteY53" fmla="*/ 1034189 h 1034189"/>
              <a:gd name="connsiteX54" fmla="*/ 4083168 w 4083168"/>
              <a:gd name="connsiteY54" fmla="*/ 1034189 h 1034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083168" h="1034189">
                <a:moveTo>
                  <a:pt x="0" y="0"/>
                </a:moveTo>
                <a:lnTo>
                  <a:pt x="43177" y="0"/>
                </a:lnTo>
                <a:lnTo>
                  <a:pt x="50132" y="0"/>
                </a:lnTo>
                <a:lnTo>
                  <a:pt x="381374" y="0"/>
                </a:lnTo>
                <a:lnTo>
                  <a:pt x="417726" y="0"/>
                </a:lnTo>
                <a:lnTo>
                  <a:pt x="417726" y="50156"/>
                </a:lnTo>
                <a:lnTo>
                  <a:pt x="421139" y="50156"/>
                </a:lnTo>
                <a:lnTo>
                  <a:pt x="421139" y="150467"/>
                </a:lnTo>
                <a:lnTo>
                  <a:pt x="459066" y="150467"/>
                </a:lnTo>
                <a:lnTo>
                  <a:pt x="459066" y="200622"/>
                </a:lnTo>
                <a:lnTo>
                  <a:pt x="559200" y="200622"/>
                </a:lnTo>
                <a:lnTo>
                  <a:pt x="559200" y="250778"/>
                </a:lnTo>
                <a:lnTo>
                  <a:pt x="585053" y="250778"/>
                </a:lnTo>
                <a:lnTo>
                  <a:pt x="585053" y="300934"/>
                </a:lnTo>
                <a:lnTo>
                  <a:pt x="650672" y="300934"/>
                </a:lnTo>
                <a:lnTo>
                  <a:pt x="662614" y="300934"/>
                </a:lnTo>
                <a:lnTo>
                  <a:pt x="662614" y="352860"/>
                </a:lnTo>
                <a:lnTo>
                  <a:pt x="730070" y="352860"/>
                </a:lnTo>
                <a:lnTo>
                  <a:pt x="730070" y="404785"/>
                </a:lnTo>
                <a:lnTo>
                  <a:pt x="800675" y="404785"/>
                </a:lnTo>
                <a:lnTo>
                  <a:pt x="800675" y="456711"/>
                </a:lnTo>
                <a:lnTo>
                  <a:pt x="833484" y="456711"/>
                </a:lnTo>
                <a:lnTo>
                  <a:pt x="833484" y="508637"/>
                </a:lnTo>
                <a:lnTo>
                  <a:pt x="840440" y="508637"/>
                </a:lnTo>
                <a:lnTo>
                  <a:pt x="840440" y="560563"/>
                </a:lnTo>
                <a:lnTo>
                  <a:pt x="993987" y="560563"/>
                </a:lnTo>
                <a:lnTo>
                  <a:pt x="1168401" y="560563"/>
                </a:lnTo>
                <a:lnTo>
                  <a:pt x="1168401" y="614849"/>
                </a:lnTo>
                <a:lnTo>
                  <a:pt x="1308168" y="614849"/>
                </a:lnTo>
                <a:lnTo>
                  <a:pt x="1308168" y="669135"/>
                </a:lnTo>
                <a:lnTo>
                  <a:pt x="1703321" y="669135"/>
                </a:lnTo>
                <a:lnTo>
                  <a:pt x="1703321" y="723421"/>
                </a:lnTo>
                <a:lnTo>
                  <a:pt x="1718939" y="723421"/>
                </a:lnTo>
                <a:lnTo>
                  <a:pt x="1718939" y="777707"/>
                </a:lnTo>
                <a:lnTo>
                  <a:pt x="2029445" y="777707"/>
                </a:lnTo>
                <a:lnTo>
                  <a:pt x="2029445" y="831993"/>
                </a:lnTo>
                <a:lnTo>
                  <a:pt x="2117505" y="831993"/>
                </a:lnTo>
                <a:lnTo>
                  <a:pt x="2117505" y="886279"/>
                </a:lnTo>
                <a:lnTo>
                  <a:pt x="2331552" y="886279"/>
                </a:lnTo>
                <a:lnTo>
                  <a:pt x="2595469" y="886279"/>
                </a:lnTo>
                <a:lnTo>
                  <a:pt x="2595469" y="944106"/>
                </a:lnTo>
                <a:lnTo>
                  <a:pt x="3061621" y="944106"/>
                </a:lnTo>
                <a:lnTo>
                  <a:pt x="3128815" y="944106"/>
                </a:lnTo>
                <a:lnTo>
                  <a:pt x="3203095" y="944106"/>
                </a:lnTo>
                <a:lnTo>
                  <a:pt x="3209919" y="944106"/>
                </a:lnTo>
                <a:lnTo>
                  <a:pt x="3228948" y="944106"/>
                </a:lnTo>
                <a:lnTo>
                  <a:pt x="3254802" y="944106"/>
                </a:lnTo>
                <a:lnTo>
                  <a:pt x="3254802" y="1034189"/>
                </a:lnTo>
                <a:lnTo>
                  <a:pt x="3265170" y="1034189"/>
                </a:lnTo>
                <a:lnTo>
                  <a:pt x="3763869" y="1034189"/>
                </a:lnTo>
                <a:lnTo>
                  <a:pt x="3819120" y="1034189"/>
                </a:lnTo>
                <a:lnTo>
                  <a:pt x="3931327" y="1034189"/>
                </a:lnTo>
                <a:lnTo>
                  <a:pt x="3969255" y="1034189"/>
                </a:lnTo>
                <a:lnTo>
                  <a:pt x="4048653" y="1034189"/>
                </a:lnTo>
                <a:lnTo>
                  <a:pt x="4083168" y="1034189"/>
                </a:lnTo>
              </a:path>
            </a:pathLst>
          </a:custGeom>
          <a:noFill/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7D3628A-8518-BF4C-882B-CE1F237B237D}"/>
              </a:ext>
            </a:extLst>
          </p:cNvPr>
          <p:cNvGrpSpPr/>
          <p:nvPr/>
        </p:nvGrpSpPr>
        <p:grpSpPr>
          <a:xfrm>
            <a:off x="3002982" y="2938768"/>
            <a:ext cx="3059461" cy="632224"/>
            <a:chOff x="2785807" y="2981481"/>
            <a:chExt cx="1936805" cy="632224"/>
          </a:xfrm>
        </p:grpSpPr>
        <p:sp>
          <p:nvSpPr>
            <p:cNvPr id="19" name="object 217">
              <a:extLst>
                <a:ext uri="{FF2B5EF4-FFF2-40B4-BE49-F238E27FC236}">
                  <a16:creationId xmlns:a16="http://schemas.microsoft.com/office/drawing/2014/main" id="{11CE4B65-024C-BEBC-D36B-148A968A7101}"/>
                </a:ext>
              </a:extLst>
            </p:cNvPr>
            <p:cNvSpPr txBox="1"/>
            <p:nvPr/>
          </p:nvSpPr>
          <p:spPr>
            <a:xfrm>
              <a:off x="2987275" y="2981481"/>
              <a:ext cx="1735337" cy="632224"/>
            </a:xfrm>
            <a:prstGeom prst="rect">
              <a:avLst/>
            </a:prstGeom>
          </p:spPr>
          <p:txBody>
            <a:bodyPr vert="horz" wrap="square" lIns="0" tIns="16510" rIns="0" bIns="0" rtlCol="0">
              <a:spAutoFit/>
            </a:bodyPr>
            <a:lstStyle/>
            <a:p>
              <a:r>
                <a:rPr lang="de-DE" sz="1000" dirty="0"/>
                <a:t>Placebo + </a:t>
              </a:r>
              <a:r>
                <a:rPr lang="de-DE" sz="1000" dirty="0" err="1"/>
                <a:t>ctDNA</a:t>
              </a:r>
              <a:r>
                <a:rPr lang="de-DE" sz="1000" dirty="0"/>
                <a:t> nicht detektierbar</a:t>
              </a:r>
            </a:p>
            <a:p>
              <a:r>
                <a:rPr lang="de-DE" sz="1000" dirty="0"/>
                <a:t>Placebo + </a:t>
              </a:r>
              <a:r>
                <a:rPr lang="de-DE" sz="1000" dirty="0" err="1"/>
                <a:t>ctDNA</a:t>
              </a:r>
              <a:r>
                <a:rPr lang="de-DE" sz="1000" dirty="0"/>
                <a:t> detektierbar</a:t>
              </a:r>
            </a:p>
            <a:p>
              <a:r>
                <a:rPr lang="de-DE" sz="1000" dirty="0"/>
                <a:t>Kombinationstherapie + </a:t>
              </a:r>
              <a:r>
                <a:rPr lang="de-DE" sz="1000" dirty="0" err="1"/>
                <a:t>ctDNA</a:t>
              </a:r>
              <a:r>
                <a:rPr lang="de-DE" sz="1000" dirty="0"/>
                <a:t> nicht detektierbar Kombinationstherapie + </a:t>
              </a:r>
              <a:r>
                <a:rPr lang="de-DE" sz="1000" dirty="0" err="1"/>
                <a:t>ctDNA</a:t>
              </a:r>
              <a:r>
                <a:rPr lang="de-DE" sz="1000" dirty="0"/>
                <a:t> detektierba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07118A09-5FAB-D083-C35A-C6AF69B913A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85807" y="3077812"/>
              <a:ext cx="144000" cy="0"/>
            </a:xfrm>
            <a:prstGeom prst="line">
              <a:avLst/>
            </a:prstGeom>
            <a:ln w="19050" cap="rnd">
              <a:solidFill>
                <a:schemeClr val="accent6">
                  <a:lumMod val="40000"/>
                  <a:lumOff val="6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EAC18E4B-EDFD-3781-378D-2F49B612393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85807" y="3231054"/>
              <a:ext cx="144000" cy="0"/>
            </a:xfrm>
            <a:prstGeom prst="line">
              <a:avLst/>
            </a:prstGeom>
            <a:ln w="19050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52E32841-202C-E848-2003-CD625B6CD4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85807" y="3384296"/>
              <a:ext cx="144000" cy="0"/>
            </a:xfrm>
            <a:prstGeom prst="line">
              <a:avLst/>
            </a:prstGeom>
            <a:ln w="19050" cap="rnd">
              <a:solidFill>
                <a:schemeClr val="accent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90D67872-CF46-8B83-0EE7-25B1349752C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85807" y="3537538"/>
              <a:ext cx="144000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feld 30">
            <a:extLst>
              <a:ext uri="{FF2B5EF4-FFF2-40B4-BE49-F238E27FC236}">
                <a16:creationId xmlns:a16="http://schemas.microsoft.com/office/drawing/2014/main" id="{12702E35-243B-6F71-E529-22A937FDE817}"/>
              </a:ext>
            </a:extLst>
          </p:cNvPr>
          <p:cNvSpPr txBox="1"/>
          <p:nvPr/>
        </p:nvSpPr>
        <p:spPr>
          <a:xfrm>
            <a:off x="329254" y="4158651"/>
            <a:ext cx="271564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nzahl unter Risiko (zensiert)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4EBBB5A0-B23C-DE06-C093-99BDE8968DD8}"/>
              </a:ext>
            </a:extLst>
          </p:cNvPr>
          <p:cNvSpPr txBox="1"/>
          <p:nvPr/>
        </p:nvSpPr>
        <p:spPr>
          <a:xfrm>
            <a:off x="307915" y="4367251"/>
            <a:ext cx="123300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</a:rPr>
              <a:t>Placebo</a:t>
            </a:r>
            <a:r>
              <a:rPr lang="de-DE" sz="8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/>
              </a:rPr>
              <a:t> 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</a:rPr>
              <a:t>+ </a:t>
            </a:r>
            <a:r>
              <a:rPr kumimoji="0" lang="de-DE" sz="8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</a:rPr>
              <a:t>ctDNA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</a:rPr>
              <a:t> nicht detektierbar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8A6CB78-41BC-1E87-F7BF-3151FA83B880}"/>
              </a:ext>
            </a:extLst>
          </p:cNvPr>
          <p:cNvSpPr txBox="1"/>
          <p:nvPr/>
        </p:nvSpPr>
        <p:spPr>
          <a:xfrm>
            <a:off x="307378" y="4691824"/>
            <a:ext cx="102358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</a:rPr>
              <a:t>Placebo + </a:t>
            </a:r>
            <a:r>
              <a:rPr kumimoji="0" lang="de-DE" sz="8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</a:rPr>
              <a:t>ctDNA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</a:rPr>
              <a:t> detektierbar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0A95ACA4-7A6F-9595-1EB0-DCE29B5D8B38}"/>
              </a:ext>
            </a:extLst>
          </p:cNvPr>
          <p:cNvSpPr txBox="1"/>
          <p:nvPr/>
        </p:nvSpPr>
        <p:spPr>
          <a:xfrm>
            <a:off x="307915" y="5003664"/>
            <a:ext cx="14896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de-DE" sz="800" b="1" dirty="0">
                <a:solidFill>
                  <a:schemeClr val="accent6"/>
                </a:solidFill>
                <a:latin typeface="Arial" panose="020B0604020202020204"/>
              </a:rPr>
              <a:t>Kombinationstherapie</a:t>
            </a:r>
            <a:b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</a:rPr>
            </a:b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</a:rPr>
              <a:t>+ </a:t>
            </a:r>
            <a:r>
              <a:rPr kumimoji="0" lang="de-DE" sz="8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</a:rPr>
              <a:t>ctDNA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</a:rPr>
              <a:t> nicht detektierbar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19A5BA41-898C-F493-E2D1-7F27407EDF3F}"/>
              </a:ext>
            </a:extLst>
          </p:cNvPr>
          <p:cNvSpPr txBox="1"/>
          <p:nvPr/>
        </p:nvSpPr>
        <p:spPr>
          <a:xfrm>
            <a:off x="307915" y="5309658"/>
            <a:ext cx="14896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de-DE" sz="800" b="1" dirty="0">
                <a:solidFill>
                  <a:schemeClr val="accent2"/>
                </a:solidFill>
              </a:rPr>
              <a:t>Kombinationstherapie</a:t>
            </a:r>
            <a:b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</a:b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+ </a:t>
            </a:r>
            <a:r>
              <a:rPr kumimoji="0" lang="de-DE" sz="8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ctDNA</a:t>
            </a: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 detektierbar</a:t>
            </a:r>
          </a:p>
        </p:txBody>
      </p:sp>
    </p:spTree>
    <p:extLst>
      <p:ext uri="{BB962C8B-B14F-4D97-AF65-F5344CB8AC3E}">
        <p14:creationId xmlns:p14="http://schemas.microsoft.com/office/powerpoint/2010/main" val="215378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5FA0ED-1879-8F76-65CC-A918BB0B3C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b="1" dirty="0">
                <a:solidFill>
                  <a:schemeClr val="tx2"/>
                </a:solidFill>
              </a:rPr>
              <a:t>Zentrale Studienergebnisse</a:t>
            </a:r>
            <a:br>
              <a:rPr lang="de-DE" sz="3200" b="1" dirty="0">
                <a:solidFill>
                  <a:schemeClr val="tx2"/>
                </a:solidFill>
              </a:rPr>
            </a:br>
            <a:br>
              <a:rPr lang="de-DE" dirty="0"/>
            </a:b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F0D5110-9374-3962-AFE2-5F67CB9002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838" y="5933734"/>
            <a:ext cx="9267825" cy="587375"/>
          </a:xfrm>
        </p:spPr>
        <p:txBody>
          <a:bodyPr/>
          <a:lstStyle/>
          <a:p>
            <a:r>
              <a:rPr lang="de-DE" b="1" dirty="0" err="1"/>
              <a:t>ctDNA</a:t>
            </a:r>
            <a:r>
              <a:rPr lang="de-DE" dirty="0"/>
              <a:t> </a:t>
            </a:r>
            <a:r>
              <a:rPr lang="de-DE" i="1" dirty="0" err="1"/>
              <a:t>circulating</a:t>
            </a:r>
            <a:r>
              <a:rPr lang="de-DE" i="1" dirty="0"/>
              <a:t> </a:t>
            </a:r>
            <a:r>
              <a:rPr lang="de-DE" i="1" dirty="0" err="1"/>
              <a:t>tumor</a:t>
            </a:r>
            <a:r>
              <a:rPr lang="de-DE" i="1" dirty="0"/>
              <a:t> </a:t>
            </a:r>
            <a:r>
              <a:rPr lang="de-DE" dirty="0"/>
              <a:t>DNA. </a:t>
            </a:r>
            <a:r>
              <a:rPr lang="de-DE" b="1" dirty="0"/>
              <a:t>RFS</a:t>
            </a:r>
            <a:r>
              <a:rPr lang="de-DE" dirty="0"/>
              <a:t> </a:t>
            </a:r>
            <a:r>
              <a:rPr lang="de-DE" dirty="0" err="1"/>
              <a:t>Rezidivfreies</a:t>
            </a:r>
            <a:r>
              <a:rPr lang="de-DE" dirty="0"/>
              <a:t> Überleben. </a:t>
            </a:r>
            <a:r>
              <a:rPr lang="de-DE" b="1" dirty="0"/>
              <a:t>OS</a:t>
            </a:r>
            <a:r>
              <a:rPr lang="de-DE" dirty="0"/>
              <a:t> </a:t>
            </a:r>
            <a:r>
              <a:rPr lang="de-DE" dirty="0" err="1"/>
              <a:t>Gesamtüberlben</a:t>
            </a:r>
            <a:r>
              <a:rPr lang="de-DE" dirty="0"/>
              <a:t>.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958F402B-BFC1-4647-7714-A5DBA3A6F6B6}"/>
              </a:ext>
            </a:extLst>
          </p:cNvPr>
          <p:cNvSpPr/>
          <p:nvPr/>
        </p:nvSpPr>
        <p:spPr>
          <a:xfrm>
            <a:off x="654921" y="1121399"/>
            <a:ext cx="8872537" cy="4473685"/>
          </a:xfrm>
          <a:prstGeom prst="roundRect">
            <a:avLst>
              <a:gd name="adj" fmla="val 10723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058545" lvl="4" indent="-285750"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2"/>
                </a:solidFill>
              </a:rPr>
              <a:t>Bei Patient*innen mit </a:t>
            </a:r>
            <a:r>
              <a:rPr lang="de-DE" sz="1600" b="1" dirty="0">
                <a:solidFill>
                  <a:schemeClr val="tx2"/>
                </a:solidFill>
              </a:rPr>
              <a:t>detektierbarer </a:t>
            </a:r>
            <a:r>
              <a:rPr lang="de-DE" sz="1600" b="1" dirty="0" err="1">
                <a:solidFill>
                  <a:schemeClr val="tx2"/>
                </a:solidFill>
              </a:rPr>
              <a:t>ctDNA</a:t>
            </a:r>
            <a:r>
              <a:rPr lang="de-DE" sz="1600" b="1" dirty="0">
                <a:solidFill>
                  <a:schemeClr val="tx2"/>
                </a:solidFill>
              </a:rPr>
              <a:t> zu Studienbeginn </a:t>
            </a:r>
            <a:r>
              <a:rPr lang="de-DE" sz="1600" b="0" dirty="0">
                <a:solidFill>
                  <a:schemeClr val="tx2"/>
                </a:solidFill>
              </a:rPr>
              <a:t>bestand ein </a:t>
            </a:r>
            <a:r>
              <a:rPr lang="de-DE" sz="1600" b="1" dirty="0">
                <a:solidFill>
                  <a:schemeClr val="tx2"/>
                </a:solidFill>
              </a:rPr>
              <a:t>höheres Risiko für ein frühes Rezidiv → keine detektierbare </a:t>
            </a:r>
            <a:r>
              <a:rPr lang="de-DE" sz="1600" b="1" dirty="0" err="1">
                <a:solidFill>
                  <a:schemeClr val="tx2"/>
                </a:solidFill>
              </a:rPr>
              <a:t>ctDNA</a:t>
            </a:r>
            <a:r>
              <a:rPr lang="de-DE" sz="1600" b="1" dirty="0">
                <a:solidFill>
                  <a:schemeClr val="tx2"/>
                </a:solidFill>
              </a:rPr>
              <a:t> ist ein prognostisch günstiger Faktor</a:t>
            </a:r>
            <a:endParaRPr lang="en-US" dirty="0">
              <a:solidFill>
                <a:schemeClr val="tx2"/>
              </a:solidFill>
            </a:endParaRPr>
          </a:p>
          <a:p>
            <a:pPr marL="1058545" lvl="4" indent="-285750"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2"/>
                </a:solidFill>
              </a:rPr>
              <a:t>Es zeigte sich eine Korrelation zwischen </a:t>
            </a:r>
            <a:r>
              <a:rPr lang="de-DE" sz="1600" b="0" dirty="0" err="1">
                <a:solidFill>
                  <a:schemeClr val="tx2"/>
                </a:solidFill>
              </a:rPr>
              <a:t>ctDNA</a:t>
            </a:r>
            <a:r>
              <a:rPr lang="de-DE" sz="1600" b="0" dirty="0">
                <a:solidFill>
                  <a:schemeClr val="tx2"/>
                </a:solidFill>
              </a:rPr>
              <a:t>-Level und RFS- und OS-Wahrscheinlichkeit: </a:t>
            </a:r>
            <a:r>
              <a:rPr lang="de-DE" sz="1600" b="1" dirty="0">
                <a:solidFill>
                  <a:schemeClr val="tx2"/>
                </a:solidFill>
              </a:rPr>
              <a:t>Je höher das </a:t>
            </a:r>
            <a:r>
              <a:rPr lang="de-DE" sz="1600" b="1" dirty="0" err="1">
                <a:solidFill>
                  <a:schemeClr val="tx2"/>
                </a:solidFill>
              </a:rPr>
              <a:t>ctDNA</a:t>
            </a:r>
            <a:r>
              <a:rPr lang="de-DE" sz="1600" b="1" dirty="0">
                <a:solidFill>
                  <a:schemeClr val="tx2"/>
                </a:solidFill>
              </a:rPr>
              <a:t>-Level, desto höher ist die Wahrscheinlichkeit für ein RFS- oder OS-Ereignis.</a:t>
            </a:r>
            <a:endParaRPr lang="de-DE" sz="1600" b="1" dirty="0">
              <a:solidFill>
                <a:schemeClr val="tx2"/>
              </a:solidFill>
              <a:cs typeface="Arial" panose="020B0604020202020204"/>
            </a:endParaRPr>
          </a:p>
          <a:p>
            <a:pPr marL="1058545" lvl="4" indent="-285750"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chemeClr val="tx2"/>
                </a:solidFill>
              </a:rPr>
              <a:t>Die </a:t>
            </a:r>
            <a:r>
              <a:rPr lang="de-DE" sz="1600" b="1" dirty="0" err="1">
                <a:solidFill>
                  <a:schemeClr val="tx2"/>
                </a:solidFill>
              </a:rPr>
              <a:t>ctDNA</a:t>
            </a:r>
            <a:r>
              <a:rPr lang="de-DE" sz="1600" b="1" dirty="0">
                <a:solidFill>
                  <a:schemeClr val="tx2"/>
                </a:solidFill>
              </a:rPr>
              <a:t>-Konzentration war ein verlässlicherer prognostischer Faktor für das </a:t>
            </a:r>
            <a:r>
              <a:rPr lang="de-DE" sz="1600" b="1" dirty="0" err="1">
                <a:solidFill>
                  <a:schemeClr val="accent1"/>
                </a:solidFill>
              </a:rPr>
              <a:t>rezidivfreie</a:t>
            </a:r>
            <a:r>
              <a:rPr lang="de-DE" sz="1600" b="1" dirty="0">
                <a:solidFill>
                  <a:schemeClr val="tx2"/>
                </a:solidFill>
              </a:rPr>
              <a:t> Überleben </a:t>
            </a:r>
            <a:r>
              <a:rPr lang="de-DE" sz="1600" b="0" dirty="0">
                <a:solidFill>
                  <a:schemeClr val="tx2"/>
                </a:solidFill>
              </a:rPr>
              <a:t>als Tumor-Substadien und gewebebasierte Marker wie </a:t>
            </a:r>
            <a:r>
              <a:rPr lang="de-DE" sz="1600" b="0" dirty="0" err="1">
                <a:solidFill>
                  <a:schemeClr val="tx2"/>
                </a:solidFill>
              </a:rPr>
              <a:t>IFN</a:t>
            </a:r>
            <a:r>
              <a:rPr lang="de-DE" sz="1600" b="0" dirty="0" err="1">
                <a:solidFill>
                  <a:schemeClr val="tx2"/>
                </a:solidFill>
                <a:latin typeface="Symbol"/>
                <a:sym typeface="Symbol"/>
              </a:rPr>
              <a:t>g</a:t>
            </a:r>
            <a:r>
              <a:rPr lang="de-DE" sz="1600" b="0" dirty="0">
                <a:solidFill>
                  <a:schemeClr val="tx2"/>
                </a:solidFill>
              </a:rPr>
              <a:t> oder die Tumormutationslast. </a:t>
            </a:r>
          </a:p>
          <a:p>
            <a:pPr marL="1058545" lvl="4" indent="-285750"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2"/>
                </a:solidFill>
              </a:rPr>
              <a:t>Sowohl Hochrisiko- als auch Niedrigrisikopatient*innen zeigten </a:t>
            </a:r>
            <a:r>
              <a:rPr lang="de-DE" sz="1600" b="1" dirty="0">
                <a:solidFill>
                  <a:schemeClr val="tx2"/>
                </a:solidFill>
              </a:rPr>
              <a:t>unter Dabrafenib und </a:t>
            </a:r>
            <a:r>
              <a:rPr lang="de-DE" sz="1600" b="1" dirty="0" err="1">
                <a:solidFill>
                  <a:schemeClr val="tx2"/>
                </a:solidFill>
              </a:rPr>
              <a:t>Trametinib</a:t>
            </a:r>
            <a:r>
              <a:rPr lang="de-DE" sz="1600" b="1" dirty="0">
                <a:solidFill>
                  <a:schemeClr val="tx2"/>
                </a:solidFill>
              </a:rPr>
              <a:t> ein längeres </a:t>
            </a:r>
            <a:r>
              <a:rPr lang="de-DE" sz="1600" b="1" dirty="0" err="1">
                <a:solidFill>
                  <a:schemeClr val="tx2"/>
                </a:solidFill>
              </a:rPr>
              <a:t>rezidivfreies</a:t>
            </a:r>
            <a:r>
              <a:rPr lang="de-DE" sz="1600" b="1" dirty="0">
                <a:solidFill>
                  <a:schemeClr val="tx2"/>
                </a:solidFill>
              </a:rPr>
              <a:t> Überleben als unter Placebo</a:t>
            </a:r>
            <a:r>
              <a:rPr lang="de-DE" sz="1600" b="0" dirty="0">
                <a:solidFill>
                  <a:schemeClr val="tx2"/>
                </a:solidFill>
              </a:rPr>
              <a:t>. Da </a:t>
            </a:r>
            <a:r>
              <a:rPr lang="de-DE" sz="1600" b="0" dirty="0" err="1">
                <a:solidFill>
                  <a:schemeClr val="tx2"/>
                </a:solidFill>
              </a:rPr>
              <a:t>ctDNA</a:t>
            </a:r>
            <a:r>
              <a:rPr lang="de-DE" sz="1600" b="0" dirty="0">
                <a:solidFill>
                  <a:schemeClr val="tx2"/>
                </a:solidFill>
              </a:rPr>
              <a:t> jedoch kein prädiktiver Marker ist, lässt sich keine Vorhersage zum Therapieansprechen treffen.</a:t>
            </a:r>
            <a:endParaRPr lang="de-DE" sz="1600" b="0" dirty="0">
              <a:solidFill>
                <a:schemeClr val="tx2"/>
              </a:solidFill>
              <a:cs typeface="Arial"/>
            </a:endParaRPr>
          </a:p>
        </p:txBody>
      </p:sp>
      <p:pic>
        <p:nvPicPr>
          <p:cNvPr id="11" name="Grafik 10" descr="Ein Bild, das Kreis, Grafiken, Schrift, Logo enthält.&#10;&#10;KI-generierte Inhalte können fehlerhaft sein.">
            <a:extLst>
              <a:ext uri="{FF2B5EF4-FFF2-40B4-BE49-F238E27FC236}">
                <a16:creationId xmlns:a16="http://schemas.microsoft.com/office/drawing/2014/main" id="{140B27E4-9B4C-02E1-6FDB-95E7A62EFE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482" y="997343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8051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D289C-63BE-3BC8-E132-1048E4806C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/>
              <a:t>Fazit</a:t>
            </a:r>
            <a:br>
              <a:rPr lang="de-DE" dirty="0"/>
            </a:br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BDE50B12-238E-C48B-F813-A80FA5137CF8}"/>
              </a:ext>
            </a:extLst>
          </p:cNvPr>
          <p:cNvSpPr/>
          <p:nvPr/>
        </p:nvSpPr>
        <p:spPr>
          <a:xfrm>
            <a:off x="808040" y="1294998"/>
            <a:ext cx="8729661" cy="39091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58863" lvl="4" indent="-285750"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2"/>
                </a:solidFill>
              </a:rPr>
              <a:t>Dies ist die bisher </a:t>
            </a:r>
            <a:r>
              <a:rPr lang="de-DE" sz="1600" b="1" dirty="0">
                <a:solidFill>
                  <a:schemeClr val="tx2"/>
                </a:solidFill>
              </a:rPr>
              <a:t>größte </a:t>
            </a:r>
            <a:r>
              <a:rPr lang="de-DE" sz="1600" b="1" dirty="0">
                <a:solidFill>
                  <a:schemeClr val="accent1"/>
                </a:solidFill>
              </a:rPr>
              <a:t>randomisierte prospektive Studie zur Analyse von </a:t>
            </a:r>
            <a:r>
              <a:rPr lang="de-DE" sz="1600" b="1" dirty="0" err="1">
                <a:solidFill>
                  <a:schemeClr val="accent1"/>
                </a:solidFill>
              </a:rPr>
              <a:t>ctDNA</a:t>
            </a:r>
            <a:r>
              <a:rPr lang="de-DE" sz="1600" b="1" dirty="0">
                <a:solidFill>
                  <a:schemeClr val="accent1"/>
                </a:solidFill>
              </a:rPr>
              <a:t>-Messungen in Zusammenhang mit dem Rezidivrisiko und das Gesamtüberleben </a:t>
            </a:r>
            <a:r>
              <a:rPr lang="de-DE" sz="1600" b="0" dirty="0">
                <a:solidFill>
                  <a:schemeClr val="tx2"/>
                </a:solidFill>
              </a:rPr>
              <a:t>bei Patient*innen mit reseziertem Melanom im Stadium III</a:t>
            </a:r>
            <a:endParaRPr lang="de-DE" sz="1600" b="0" strike="sngStrike" dirty="0">
              <a:solidFill>
                <a:schemeClr val="tx2"/>
              </a:solidFill>
            </a:endParaRPr>
          </a:p>
          <a:p>
            <a:pPr marL="1058863" lvl="4" indent="-285750"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2"/>
                </a:solidFill>
              </a:rPr>
              <a:t>Die </a:t>
            </a:r>
            <a:r>
              <a:rPr lang="de-DE" sz="1600" b="1" dirty="0" err="1">
                <a:solidFill>
                  <a:schemeClr val="tx2"/>
                </a:solidFill>
              </a:rPr>
              <a:t>ctDNA</a:t>
            </a:r>
            <a:r>
              <a:rPr lang="de-DE" sz="1600" b="1" dirty="0">
                <a:solidFill>
                  <a:schemeClr val="tx2"/>
                </a:solidFill>
              </a:rPr>
              <a:t>-Messung zu Studienbeginn erwies sich als starker prognostischen Marker und </a:t>
            </a:r>
            <a:r>
              <a:rPr lang="de-DE" sz="1600" b="1" dirty="0">
                <a:solidFill>
                  <a:schemeClr val="accent1"/>
                </a:solidFill>
              </a:rPr>
              <a:t>korrelierte </a:t>
            </a:r>
            <a:r>
              <a:rPr lang="de-DE" sz="1600" b="1" dirty="0">
                <a:solidFill>
                  <a:schemeClr val="tx2"/>
                </a:solidFill>
              </a:rPr>
              <a:t>mit einem hohen Risiko für ein frühes Rezidiv</a:t>
            </a:r>
            <a:r>
              <a:rPr lang="de-DE" sz="1600" b="0" dirty="0">
                <a:solidFill>
                  <a:schemeClr val="tx2"/>
                </a:solidFill>
              </a:rPr>
              <a:t>. Die zusätzliche Berücksichtigung von </a:t>
            </a:r>
            <a:r>
              <a:rPr lang="de-DE" sz="1600" b="0" dirty="0" err="1">
                <a:solidFill>
                  <a:schemeClr val="tx2"/>
                </a:solidFill>
              </a:rPr>
              <a:t>INF</a:t>
            </a:r>
            <a:r>
              <a:rPr lang="de-DE" sz="1600" b="0" dirty="0" err="1">
                <a:solidFill>
                  <a:schemeClr val="tx2"/>
                </a:solidFill>
                <a:latin typeface="Symbol" panose="05050102010706020507" pitchFamily="18" charset="2"/>
              </a:rPr>
              <a:t>g</a:t>
            </a:r>
            <a:r>
              <a:rPr lang="de-DE" sz="1600" b="0" dirty="0">
                <a:solidFill>
                  <a:schemeClr val="tx2"/>
                </a:solidFill>
              </a:rPr>
              <a:t> oder der TMB erhöht die Vorhersagekraft für RFS und OS</a:t>
            </a:r>
          </a:p>
          <a:p>
            <a:pPr marL="1058863" lvl="4" indent="-285750"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/>
                </a:solidFill>
              </a:rPr>
              <a:t>Aufgrund der begrenzten Sensitivität der hier verwendeten </a:t>
            </a:r>
            <a:r>
              <a:rPr lang="de-DE" sz="1600" dirty="0" err="1">
                <a:solidFill>
                  <a:schemeClr val="tx2"/>
                </a:solidFill>
              </a:rPr>
              <a:t>ctDNA</a:t>
            </a:r>
            <a:r>
              <a:rPr lang="de-DE" sz="1600" dirty="0">
                <a:solidFill>
                  <a:schemeClr val="tx2"/>
                </a:solidFill>
              </a:rPr>
              <a:t> Messmethode (</a:t>
            </a:r>
            <a:r>
              <a:rPr lang="de-DE" sz="1600" dirty="0" err="1">
                <a:solidFill>
                  <a:schemeClr val="tx2"/>
                </a:solidFill>
              </a:rPr>
              <a:t>ddPCR</a:t>
            </a:r>
            <a:r>
              <a:rPr lang="de-DE" sz="1600" dirty="0">
                <a:solidFill>
                  <a:schemeClr val="tx2"/>
                </a:solidFill>
              </a:rPr>
              <a:t>) ist eine Patientenselektion nach Komplettresektion jedoch nicht möglich. </a:t>
            </a:r>
            <a:r>
              <a:rPr lang="de-DE" sz="1600" b="1" dirty="0">
                <a:solidFill>
                  <a:schemeClr val="tx2"/>
                </a:solidFill>
              </a:rPr>
              <a:t>Der Nachweis von </a:t>
            </a:r>
            <a:r>
              <a:rPr lang="de-DE" sz="1600" b="1" dirty="0" err="1">
                <a:solidFill>
                  <a:schemeClr val="tx2"/>
                </a:solidFill>
              </a:rPr>
              <a:t>ctDNA</a:t>
            </a:r>
            <a:r>
              <a:rPr lang="de-DE" sz="1600" b="1" dirty="0">
                <a:solidFill>
                  <a:schemeClr val="tx2"/>
                </a:solidFill>
              </a:rPr>
              <a:t> bietet jedoch eine wertvolle Unterstützung bei Entscheidungen zur adjuvanten Therapie</a:t>
            </a:r>
            <a:endParaRPr lang="de-DE" sz="1600" dirty="0">
              <a:solidFill>
                <a:schemeClr val="tx2"/>
              </a:solidFill>
            </a:endParaRPr>
          </a:p>
        </p:txBody>
      </p:sp>
      <p:pic>
        <p:nvPicPr>
          <p:cNvPr id="13" name="Grafik 12" descr="Ein Bild, das Grafiken, Kreis, Design enthält.&#10;&#10;KI-generierte Inhalte können fehlerhaft sein.">
            <a:extLst>
              <a:ext uri="{FF2B5EF4-FFF2-40B4-BE49-F238E27FC236}">
                <a16:creationId xmlns:a16="http://schemas.microsoft.com/office/drawing/2014/main" id="{F37E755E-125F-6CD9-7EC3-6E78DFC7FD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479" y="1074994"/>
            <a:ext cx="1080000" cy="1080000"/>
          </a:xfrm>
          <a:prstGeom prst="rect">
            <a:avLst/>
          </a:prstGeom>
        </p:spPr>
      </p:pic>
      <p:sp>
        <p:nvSpPr>
          <p:cNvPr id="3" name="Textplatzhalter 5">
            <a:extLst>
              <a:ext uri="{FF2B5EF4-FFF2-40B4-BE49-F238E27FC236}">
                <a16:creationId xmlns:a16="http://schemas.microsoft.com/office/drawing/2014/main" id="{A2BC6B09-BFB4-7E45-CC18-F008B05B242C}"/>
              </a:ext>
            </a:extLst>
          </p:cNvPr>
          <p:cNvSpPr txBox="1">
            <a:spLocks/>
          </p:cNvSpPr>
          <p:nvPr/>
        </p:nvSpPr>
        <p:spPr>
          <a:xfrm>
            <a:off x="604838" y="5933734"/>
            <a:ext cx="9267825" cy="5873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0460A9"/>
              </a:buClr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0460A9"/>
              </a:buClr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0460A9"/>
              </a:buClr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err="1"/>
              <a:t>ctDNA</a:t>
            </a:r>
            <a:r>
              <a:rPr lang="de-DE" dirty="0"/>
              <a:t> </a:t>
            </a:r>
            <a:r>
              <a:rPr lang="de-DE" i="1" dirty="0" err="1"/>
              <a:t>circulating</a:t>
            </a:r>
            <a:r>
              <a:rPr lang="de-DE" i="1" dirty="0"/>
              <a:t> </a:t>
            </a:r>
            <a:r>
              <a:rPr lang="de-DE" i="1" dirty="0" err="1"/>
              <a:t>tumor</a:t>
            </a:r>
            <a:r>
              <a:rPr lang="de-DE" i="1" dirty="0"/>
              <a:t> </a:t>
            </a:r>
            <a:r>
              <a:rPr lang="de-DE" dirty="0"/>
              <a:t>DNA. </a:t>
            </a:r>
            <a:r>
              <a:rPr lang="de-DE" b="1" dirty="0" err="1"/>
              <a:t>ddPCR</a:t>
            </a:r>
            <a:r>
              <a:rPr lang="de-DE" dirty="0"/>
              <a:t> </a:t>
            </a:r>
            <a:r>
              <a:rPr lang="de-DE" dirty="0" err="1"/>
              <a:t>droplet</a:t>
            </a:r>
            <a:r>
              <a:rPr lang="de-DE" dirty="0"/>
              <a:t> digital PCR. </a:t>
            </a:r>
          </a:p>
        </p:txBody>
      </p:sp>
    </p:spTree>
    <p:extLst>
      <p:ext uri="{BB962C8B-B14F-4D97-AF65-F5344CB8AC3E}">
        <p14:creationId xmlns:p14="http://schemas.microsoft.com/office/powerpoint/2010/main" val="34248294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tis | Reimagining Medicine">
  <a:themeElements>
    <a:clrScheme name="Novartis RM">
      <a:dk1>
        <a:srgbClr val="000000"/>
      </a:dk1>
      <a:lt1>
        <a:srgbClr val="FFFFFF"/>
      </a:lt1>
      <a:dk2>
        <a:srgbClr val="002068"/>
      </a:dk2>
      <a:lt2>
        <a:srgbClr val="FFFFFF"/>
      </a:lt2>
      <a:accent1>
        <a:srgbClr val="002068"/>
      </a:accent1>
      <a:accent2>
        <a:srgbClr val="FF585D"/>
      </a:accent2>
      <a:accent3>
        <a:srgbClr val="FFC10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rtis_PPT_16x9_Novartis_RMLogo" id="{C76F9B20-1BBC-C442-B890-D454BDE65356}" vid="{AC1AA6F3-C969-A54D-9C38-3DDAFD142B7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CD58D4D452F154BBF6DF750563F9680" ma:contentTypeVersion="13" ma:contentTypeDescription="Ein neues Dokument erstellen." ma:contentTypeScope="" ma:versionID="8473166e77dfa2877dd6a86d2d26b81c">
  <xsd:schema xmlns:xsd="http://www.w3.org/2001/XMLSchema" xmlns:xs="http://www.w3.org/2001/XMLSchema" xmlns:p="http://schemas.microsoft.com/office/2006/metadata/properties" xmlns:ns2="1cf89f8f-8181-45e2-9125-aef4b2f48d9c" xmlns:ns3="c99785dc-0534-40d3-93b6-41e836ae4feb" targetNamespace="http://schemas.microsoft.com/office/2006/metadata/properties" ma:root="true" ma:fieldsID="acfaf0f9fd67d2f9ad2b09f36f2497c8" ns2:_="" ns3:_="">
    <xsd:import namespace="1cf89f8f-8181-45e2-9125-aef4b2f48d9c"/>
    <xsd:import namespace="c99785dc-0534-40d3-93b6-41e836ae4f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f89f8f-8181-45e2-9125-aef4b2f48d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80d8bfb3-e8ae-488d-96bb-aca0aea53a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9785dc-0534-40d3-93b6-41e836ae4feb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00c53f5d-bdb2-4465-84b2-aec1687f1997}" ma:internalName="TaxCatchAll" ma:showField="CatchAllData" ma:web="c99785dc-0534-40d3-93b6-41e836ae4fe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cf89f8f-8181-45e2-9125-aef4b2f48d9c">
      <Terms xmlns="http://schemas.microsoft.com/office/infopath/2007/PartnerControls"/>
    </lcf76f155ced4ddcb4097134ff3c332f>
    <TaxCatchAll xmlns="c99785dc-0534-40d3-93b6-41e836ae4feb" xsi:nil="true"/>
  </documentManagement>
</p:properties>
</file>

<file path=customXml/itemProps1.xml><?xml version="1.0" encoding="utf-8"?>
<ds:datastoreItem xmlns:ds="http://schemas.openxmlformats.org/officeDocument/2006/customXml" ds:itemID="{4CFCAEDB-C53C-45C1-9B55-FA0FF6368E05}"/>
</file>

<file path=customXml/itemProps2.xml><?xml version="1.0" encoding="utf-8"?>
<ds:datastoreItem xmlns:ds="http://schemas.openxmlformats.org/officeDocument/2006/customXml" ds:itemID="{A040492B-BE09-43DA-8432-018744B1171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1D59ACC-9A8F-4C47-9F40-A86A6538FAAC}">
  <ds:schemaRefs>
    <ds:schemaRef ds:uri="http://schemas.microsoft.com/office/2006/metadata/properties"/>
    <ds:schemaRef ds:uri="http://schemas.microsoft.com/office/infopath/2007/PartnerControls"/>
    <ds:schemaRef ds:uri="http://www.w3.org/XML/1998/namespace"/>
    <ds:schemaRef ds:uri="fff0f7d4-3120-4cc8-bc0f-abb32822f13d"/>
    <ds:schemaRef ds:uri="http://purl.org/dc/terms/"/>
    <ds:schemaRef ds:uri="http://schemas.microsoft.com/office/2006/documentManagement/types"/>
    <ds:schemaRef ds:uri="http://purl.org/dc/dcmitype/"/>
    <ds:schemaRef ds:uri="http://purl.org/dc/elements/1.1/"/>
    <ds:schemaRef ds:uri="http://schemas.openxmlformats.org/package/2006/metadata/core-properties"/>
    <ds:schemaRef ds:uri="5d21ea6c-4d9c-45bb-9193-24ecb6c2c61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86</Words>
  <Application>Microsoft Office PowerPoint</Application>
  <PresentationFormat>Breitbild</PresentationFormat>
  <Paragraphs>254</Paragraphs>
  <Slides>7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4" baseType="lpstr">
      <vt:lpstr>Aptos</vt:lpstr>
      <vt:lpstr>Arial</vt:lpstr>
      <vt:lpstr>Calibri</vt:lpstr>
      <vt:lpstr>Ping LCG Medium</vt:lpstr>
      <vt:lpstr>Symbol</vt:lpstr>
      <vt:lpstr>Novartis | Reimagining Medicine</vt:lpstr>
      <vt:lpstr>think-cell Folie</vt:lpstr>
      <vt:lpstr>Clinical validation of droplet digital PCR assays in detecting BRAFV600-mutant circulating tumour DNA as a prognostic biomarker in patients with resected stage III melanoma receiving adjuvant therapy (COMBI-AD): a biomarker analysis from a double-blind, randomised phase 3 trial</vt:lpstr>
      <vt:lpstr>Hintergrund und Studienziel</vt:lpstr>
      <vt:lpstr>Methoden</vt:lpstr>
      <vt:lpstr>Rezidivfreies Überleben (RFS) stratifiziert nach Behandlungsgruppe und BRAF ctDNA zu Studienbeginna</vt:lpstr>
      <vt:lpstr>Gesamtüberleben (OS) stratifiziert nach Behandlungsgruppe und BRAF ctDNA zu Studienbeginna</vt:lpstr>
      <vt:lpstr>Zentrale Studienergebnisse  </vt:lpstr>
      <vt:lpstr>Fazit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iefing Science Snippet: Lodde et al 4 Jahresdaten</dc:title>
  <dc:creator>Tagari, Eleni</dc:creator>
  <cp:lastModifiedBy>Peter, Tatjana</cp:lastModifiedBy>
  <cp:revision>79</cp:revision>
  <dcterms:created xsi:type="dcterms:W3CDTF">2024-10-22T16:53:22Z</dcterms:created>
  <dcterms:modified xsi:type="dcterms:W3CDTF">2025-06-23T11:4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0-12T11:34:02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9929b886-7866-4465-9bf7-3a0ab3cdd5a5</vt:lpwstr>
  </property>
  <property fmtid="{D5CDD505-2E9C-101B-9397-08002B2CF9AE}" pid="8" name="MSIP_Label_3c9bec58-8084-492e-8360-0e1cfe36408c_ContentBits">
    <vt:lpwstr>0</vt:lpwstr>
  </property>
  <property fmtid="{D5CDD505-2E9C-101B-9397-08002B2CF9AE}" pid="9" name="MSIP_Label_8e19d756-792e-42a1-bcad-4cb9051ddd2d_Enabled">
    <vt:lpwstr>true</vt:lpwstr>
  </property>
  <property fmtid="{D5CDD505-2E9C-101B-9397-08002B2CF9AE}" pid="10" name="MSIP_Label_8e19d756-792e-42a1-bcad-4cb9051ddd2d_SetDate">
    <vt:lpwstr>2024-09-09T16:18:40Z</vt:lpwstr>
  </property>
  <property fmtid="{D5CDD505-2E9C-101B-9397-08002B2CF9AE}" pid="11" name="MSIP_Label_8e19d756-792e-42a1-bcad-4cb9051ddd2d_Method">
    <vt:lpwstr>Standard</vt:lpwstr>
  </property>
  <property fmtid="{D5CDD505-2E9C-101B-9397-08002B2CF9AE}" pid="12" name="MSIP_Label_8e19d756-792e-42a1-bcad-4cb9051ddd2d_Name">
    <vt:lpwstr>Confidential</vt:lpwstr>
  </property>
  <property fmtid="{D5CDD505-2E9C-101B-9397-08002B2CF9AE}" pid="13" name="MSIP_Label_8e19d756-792e-42a1-bcad-4cb9051ddd2d_SiteId">
    <vt:lpwstr>41eb501a-f671-4ce0-a5bf-b64168c3705f</vt:lpwstr>
  </property>
  <property fmtid="{D5CDD505-2E9C-101B-9397-08002B2CF9AE}" pid="14" name="MSIP_Label_8e19d756-792e-42a1-bcad-4cb9051ddd2d_ActionId">
    <vt:lpwstr>d58f9b7f-cfa6-497f-99fd-0229cc3642c4</vt:lpwstr>
  </property>
  <property fmtid="{D5CDD505-2E9C-101B-9397-08002B2CF9AE}" pid="15" name="MSIP_Label_8e19d756-792e-42a1-bcad-4cb9051ddd2d_ContentBits">
    <vt:lpwstr>2</vt:lpwstr>
  </property>
  <property fmtid="{D5CDD505-2E9C-101B-9397-08002B2CF9AE}" pid="16" name="ClassificationContentMarkingFooterLocations">
    <vt:lpwstr>Novartis | Reimagining Medicine:7</vt:lpwstr>
  </property>
  <property fmtid="{D5CDD505-2E9C-101B-9397-08002B2CF9AE}" pid="17" name="ClassificationContentMarkingFooterText">
    <vt:lpwstr>Confidential - Not for Public Consumption or Distribution</vt:lpwstr>
  </property>
  <property fmtid="{D5CDD505-2E9C-101B-9397-08002B2CF9AE}" pid="18" name="ContentTypeId">
    <vt:lpwstr>0x0101004CD58D4D452F154BBF6DF750563F9680</vt:lpwstr>
  </property>
  <property fmtid="{D5CDD505-2E9C-101B-9397-08002B2CF9AE}" pid="19" name="MediaServiceImageTags">
    <vt:lpwstr/>
  </property>
</Properties>
</file>